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sldIdLst>
    <p:sldId id="399" r:id="rId2"/>
    <p:sldId id="2627" r:id="rId3"/>
    <p:sldId id="2630" r:id="rId4"/>
    <p:sldId id="2629" r:id="rId5"/>
    <p:sldId id="2631" r:id="rId6"/>
    <p:sldId id="2625" r:id="rId7"/>
    <p:sldId id="2622" r:id="rId8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399"/>
          </p14:sldIdLst>
        </p14:section>
        <p14:section name="Agenda" id="{96DF2114-22F9-480E-B180-4B3B8C1FF9A2}">
          <p14:sldIdLst>
            <p14:sldId id="2627"/>
            <p14:sldId id="2630"/>
            <p14:sldId id="2629"/>
            <p14:sldId id="2631"/>
            <p14:sldId id="2625"/>
          </p14:sldIdLst>
        </p14:section>
        <p14:section name="Textfolien" id="{32261FCD-A1CF-421E-AAD7-61F8B72BFF9D}">
          <p14:sldIdLst/>
        </p14:section>
        <p14:section name="Diagramme und Tabellen" id="{9053DB74-6E6F-4808-B5A1-1A4C195A3594}">
          <p14:sldIdLst/>
        </p14:section>
        <p14:section name="Metrofolien" id="{A961BAB6-8561-490E-BA1A-E62C128799CB}">
          <p14:sldIdLst/>
        </p14:section>
        <p14:section name="Kapitel- und Trennfolien" id="{99029A6D-700D-42A0-9429-367479711E3C}">
          <p14:sldIdLst/>
        </p14:section>
        <p14:section name="Schlussfolien" id="{70B6E138-C28E-4A5D-AAB7-7C10B7242A6D}">
          <p14:sldIdLst>
            <p14:sldId id="262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5B6FC8-FFF0-49A4-8C95-D8C96D79D1FD}" v="101" dt="2024-07-09T06:53:18.287"/>
  </p1510:revLst>
</p1510:revInfo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75" autoAdjust="0"/>
    <p:restoredTop sz="94773" autoAdjust="0"/>
  </p:normalViewPr>
  <p:slideViewPr>
    <p:cSldViewPr snapToGrid="0">
      <p:cViewPr varScale="1">
        <p:scale>
          <a:sx n="78" d="100"/>
          <a:sy n="78" d="100"/>
        </p:scale>
        <p:origin x="970" y="67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bio Tempelmann" userId="40073039d7e0f928" providerId="LiveId" clId="{EB5B6FC8-FFF0-49A4-8C95-D8C96D79D1FD}"/>
    <pc:docChg chg="undo custSel addSld delSld modSld modSection">
      <pc:chgData name="Fabio Tempelmann" userId="40073039d7e0f928" providerId="LiveId" clId="{EB5B6FC8-FFF0-49A4-8C95-D8C96D79D1FD}" dt="2024-07-09T09:59:07.193" v="4032" actId="20577"/>
      <pc:docMkLst>
        <pc:docMk/>
      </pc:docMkLst>
      <pc:sldChg chg="del">
        <pc:chgData name="Fabio Tempelmann" userId="40073039d7e0f928" providerId="LiveId" clId="{EB5B6FC8-FFF0-49A4-8C95-D8C96D79D1FD}" dt="2024-07-08T21:06:02.196" v="1978" actId="47"/>
        <pc:sldMkLst>
          <pc:docMk/>
          <pc:sldMk cId="3988927373" sldId="2607"/>
        </pc:sldMkLst>
      </pc:sldChg>
      <pc:sldChg chg="del">
        <pc:chgData name="Fabio Tempelmann" userId="40073039d7e0f928" providerId="LiveId" clId="{EB5B6FC8-FFF0-49A4-8C95-D8C96D79D1FD}" dt="2024-07-08T21:05:57.126" v="1977" actId="47"/>
        <pc:sldMkLst>
          <pc:docMk/>
          <pc:sldMk cId="3063067079" sldId="2608"/>
        </pc:sldMkLst>
      </pc:sldChg>
      <pc:sldChg chg="addSp modSp mod modNotesTx">
        <pc:chgData name="Fabio Tempelmann" userId="40073039d7e0f928" providerId="LiveId" clId="{EB5B6FC8-FFF0-49A4-8C95-D8C96D79D1FD}" dt="2024-07-09T06:52:09.192" v="3953"/>
        <pc:sldMkLst>
          <pc:docMk/>
          <pc:sldMk cId="2565059315" sldId="2609"/>
        </pc:sldMkLst>
        <pc:spChg chg="add mod">
          <ac:chgData name="Fabio Tempelmann" userId="40073039d7e0f928" providerId="LiveId" clId="{EB5B6FC8-FFF0-49A4-8C95-D8C96D79D1FD}" dt="2024-07-09T06:52:09.192" v="3953"/>
          <ac:spMkLst>
            <pc:docMk/>
            <pc:sldMk cId="2565059315" sldId="2609"/>
            <ac:spMk id="2" creationId="{7E87D5D7-43B7-B2DF-6350-094F8B687C4A}"/>
          </ac:spMkLst>
        </pc:spChg>
        <pc:spChg chg="add mod">
          <ac:chgData name="Fabio Tempelmann" userId="40073039d7e0f928" providerId="LiveId" clId="{EB5B6FC8-FFF0-49A4-8C95-D8C96D79D1FD}" dt="2024-07-09T06:52:09.192" v="3953"/>
          <ac:spMkLst>
            <pc:docMk/>
            <pc:sldMk cId="2565059315" sldId="2609"/>
            <ac:spMk id="3" creationId="{7D932684-F5D8-54E4-6346-C9F502BB6A7A}"/>
          </ac:spMkLst>
        </pc:spChg>
        <pc:spChg chg="mod">
          <ac:chgData name="Fabio Tempelmann" userId="40073039d7e0f928" providerId="LiveId" clId="{EB5B6FC8-FFF0-49A4-8C95-D8C96D79D1FD}" dt="2024-07-08T16:29:21.871" v="3"/>
          <ac:spMkLst>
            <pc:docMk/>
            <pc:sldMk cId="2565059315" sldId="2609"/>
            <ac:spMk id="4" creationId="{8F537267-C195-242C-ED5A-069083C0F5BE}"/>
          </ac:spMkLst>
        </pc:spChg>
        <pc:spChg chg="mod">
          <ac:chgData name="Fabio Tempelmann" userId="40073039d7e0f928" providerId="LiveId" clId="{EB5B6FC8-FFF0-49A4-8C95-D8C96D79D1FD}" dt="2024-07-09T06:32:45.638" v="3914" actId="6549"/>
          <ac:spMkLst>
            <pc:docMk/>
            <pc:sldMk cId="2565059315" sldId="2609"/>
            <ac:spMk id="5" creationId="{965D9BD6-D6B3-9F2E-F5D3-C5C086F94EE9}"/>
          </ac:spMkLst>
        </pc:spChg>
        <pc:spChg chg="mod">
          <ac:chgData name="Fabio Tempelmann" userId="40073039d7e0f928" providerId="LiveId" clId="{EB5B6FC8-FFF0-49A4-8C95-D8C96D79D1FD}" dt="2024-07-08T21:13:05.737" v="2054" actId="20577"/>
          <ac:spMkLst>
            <pc:docMk/>
            <pc:sldMk cId="2565059315" sldId="2609"/>
            <ac:spMk id="6" creationId="{0267C55D-63ED-B6EF-9FC3-2851EB1BAE37}"/>
          </ac:spMkLst>
        </pc:spChg>
        <pc:spChg chg="add mod">
          <ac:chgData name="Fabio Tempelmann" userId="40073039d7e0f928" providerId="LiveId" clId="{EB5B6FC8-FFF0-49A4-8C95-D8C96D79D1FD}" dt="2024-07-09T06:52:09.192" v="3953"/>
          <ac:spMkLst>
            <pc:docMk/>
            <pc:sldMk cId="2565059315" sldId="2609"/>
            <ac:spMk id="7" creationId="{B4D88F97-3439-883F-DCB4-1D0D3D02D7F1}"/>
          </ac:spMkLst>
        </pc:spChg>
        <pc:picChg chg="mod ord modCrop">
          <ac:chgData name="Fabio Tempelmann" userId="40073039d7e0f928" providerId="LiveId" clId="{EB5B6FC8-FFF0-49A4-8C95-D8C96D79D1FD}" dt="2024-07-08T21:25:21.785" v="2426" actId="1035"/>
          <ac:picMkLst>
            <pc:docMk/>
            <pc:sldMk cId="2565059315" sldId="2609"/>
            <ac:picMk id="10" creationId="{C0DA8D0D-EDE8-A549-5F87-C4258E09EFD3}"/>
          </ac:picMkLst>
        </pc:picChg>
      </pc:sldChg>
      <pc:sldChg chg="addSp delSp modSp mod">
        <pc:chgData name="Fabio Tempelmann" userId="40073039d7e0f928" providerId="LiveId" clId="{EB5B6FC8-FFF0-49A4-8C95-D8C96D79D1FD}" dt="2024-07-09T07:13:24.562" v="3986" actId="20577"/>
        <pc:sldMkLst>
          <pc:docMk/>
          <pc:sldMk cId="2679681764" sldId="2610"/>
        </pc:sldMkLst>
        <pc:spChg chg="mod">
          <ac:chgData name="Fabio Tempelmann" userId="40073039d7e0f928" providerId="LiveId" clId="{EB5B6FC8-FFF0-49A4-8C95-D8C96D79D1FD}" dt="2024-07-08T17:05:11.116" v="111"/>
          <ac:spMkLst>
            <pc:docMk/>
            <pc:sldMk cId="2679681764" sldId="2610"/>
            <ac:spMk id="2" creationId="{8A3998A0-850F-0CCD-4EC8-C5126524EED2}"/>
          </ac:spMkLst>
        </pc:spChg>
        <pc:spChg chg="mod">
          <ac:chgData name="Fabio Tempelmann" userId="40073039d7e0f928" providerId="LiveId" clId="{EB5B6FC8-FFF0-49A4-8C95-D8C96D79D1FD}" dt="2024-07-09T07:13:24.562" v="3986" actId="20577"/>
          <ac:spMkLst>
            <pc:docMk/>
            <pc:sldMk cId="2679681764" sldId="2610"/>
            <ac:spMk id="3" creationId="{4007A6D1-1B40-1C03-BFED-BC907884AE3F}"/>
          </ac:spMkLst>
        </pc:spChg>
        <pc:spChg chg="del">
          <ac:chgData name="Fabio Tempelmann" userId="40073039d7e0f928" providerId="LiveId" clId="{EB5B6FC8-FFF0-49A4-8C95-D8C96D79D1FD}" dt="2024-07-09T06:52:31.871" v="3954" actId="478"/>
          <ac:spMkLst>
            <pc:docMk/>
            <pc:sldMk cId="2679681764" sldId="2610"/>
            <ac:spMk id="6" creationId="{F6A097B7-BADA-6FF5-BFB6-1DFA40C53760}"/>
          </ac:spMkLst>
        </pc:spChg>
        <pc:spChg chg="add mod">
          <ac:chgData name="Fabio Tempelmann" userId="40073039d7e0f928" providerId="LiveId" clId="{EB5B6FC8-FFF0-49A4-8C95-D8C96D79D1FD}" dt="2024-07-09T06:52:32.170" v="3955"/>
          <ac:spMkLst>
            <pc:docMk/>
            <pc:sldMk cId="2679681764" sldId="2610"/>
            <ac:spMk id="7" creationId="{6A78906C-9BE4-FA4C-D447-62551967D962}"/>
          </ac:spMkLst>
        </pc:spChg>
        <pc:spChg chg="add del mod">
          <ac:chgData name="Fabio Tempelmann" userId="40073039d7e0f928" providerId="LiveId" clId="{EB5B6FC8-FFF0-49A4-8C95-D8C96D79D1FD}" dt="2024-07-08T21:27:26.337" v="2464" actId="21"/>
          <ac:spMkLst>
            <pc:docMk/>
            <pc:sldMk cId="2679681764" sldId="2610"/>
            <ac:spMk id="8" creationId="{F5E4302C-F6BF-9751-5946-7026A3A69995}"/>
          </ac:spMkLst>
        </pc:spChg>
        <pc:picChg chg="add del mod ord">
          <ac:chgData name="Fabio Tempelmann" userId="40073039d7e0f928" providerId="LiveId" clId="{EB5B6FC8-FFF0-49A4-8C95-D8C96D79D1FD}" dt="2024-07-08T21:27:01.437" v="2463" actId="478"/>
          <ac:picMkLst>
            <pc:docMk/>
            <pc:sldMk cId="2679681764" sldId="2610"/>
            <ac:picMk id="7" creationId="{184A90DE-252B-FCD1-B813-87EAAE1AD302}"/>
          </ac:picMkLst>
        </pc:picChg>
        <pc:picChg chg="mod ord modCrop">
          <ac:chgData name="Fabio Tempelmann" userId="40073039d7e0f928" providerId="LiveId" clId="{EB5B6FC8-FFF0-49A4-8C95-D8C96D79D1FD}" dt="2024-07-08T21:26:58.003" v="2462" actId="171"/>
          <ac:picMkLst>
            <pc:docMk/>
            <pc:sldMk cId="2679681764" sldId="2610"/>
            <ac:picMk id="10" creationId="{16472A9E-4D9E-2411-AE55-5B485DBE9782}"/>
          </ac:picMkLst>
        </pc:picChg>
      </pc:sldChg>
      <pc:sldChg chg="addSp delSp modSp mod">
        <pc:chgData name="Fabio Tempelmann" userId="40073039d7e0f928" providerId="LiveId" clId="{EB5B6FC8-FFF0-49A4-8C95-D8C96D79D1FD}" dt="2024-07-09T08:01:16.794" v="4004" actId="20577"/>
        <pc:sldMkLst>
          <pc:docMk/>
          <pc:sldMk cId="1610908267" sldId="2611"/>
        </pc:sldMkLst>
        <pc:spChg chg="mod">
          <ac:chgData name="Fabio Tempelmann" userId="40073039d7e0f928" providerId="LiveId" clId="{EB5B6FC8-FFF0-49A4-8C95-D8C96D79D1FD}" dt="2024-07-08T17:05:14.437" v="112"/>
          <ac:spMkLst>
            <pc:docMk/>
            <pc:sldMk cId="1610908267" sldId="2611"/>
            <ac:spMk id="2" creationId="{AF39B93C-60A8-C13B-FBE2-7CC36515D88B}"/>
          </ac:spMkLst>
        </pc:spChg>
        <pc:spChg chg="mod">
          <ac:chgData name="Fabio Tempelmann" userId="40073039d7e0f928" providerId="LiveId" clId="{EB5B6FC8-FFF0-49A4-8C95-D8C96D79D1FD}" dt="2024-07-09T08:01:16.794" v="4004" actId="20577"/>
          <ac:spMkLst>
            <pc:docMk/>
            <pc:sldMk cId="1610908267" sldId="2611"/>
            <ac:spMk id="3" creationId="{25AF5995-CE71-D142-AA1A-428E25E9C27A}"/>
          </ac:spMkLst>
        </pc:spChg>
        <pc:spChg chg="mod">
          <ac:chgData name="Fabio Tempelmann" userId="40073039d7e0f928" providerId="LiveId" clId="{EB5B6FC8-FFF0-49A4-8C95-D8C96D79D1FD}" dt="2024-07-08T21:41:40.207" v="2648" actId="113"/>
          <ac:spMkLst>
            <pc:docMk/>
            <pc:sldMk cId="1610908267" sldId="2611"/>
            <ac:spMk id="4" creationId="{621BF4DC-E325-9106-1691-A7B5B2796D64}"/>
          </ac:spMkLst>
        </pc:spChg>
        <pc:spChg chg="del mod">
          <ac:chgData name="Fabio Tempelmann" userId="40073039d7e0f928" providerId="LiveId" clId="{EB5B6FC8-FFF0-49A4-8C95-D8C96D79D1FD}" dt="2024-07-09T06:52:40.251" v="3959" actId="478"/>
          <ac:spMkLst>
            <pc:docMk/>
            <pc:sldMk cId="1610908267" sldId="2611"/>
            <ac:spMk id="6" creationId="{0E73F4D5-66CB-23BE-3C8A-C641DAD1D3FE}"/>
          </ac:spMkLst>
        </pc:spChg>
        <pc:spChg chg="add del mod">
          <ac:chgData name="Fabio Tempelmann" userId="40073039d7e0f928" providerId="LiveId" clId="{EB5B6FC8-FFF0-49A4-8C95-D8C96D79D1FD}" dt="2024-07-09T06:52:38.951" v="3958" actId="478"/>
          <ac:spMkLst>
            <pc:docMk/>
            <pc:sldMk cId="1610908267" sldId="2611"/>
            <ac:spMk id="7" creationId="{3872685A-0F81-BABE-CECA-3C53474834F2}"/>
          </ac:spMkLst>
        </pc:spChg>
        <pc:spChg chg="add mod">
          <ac:chgData name="Fabio Tempelmann" userId="40073039d7e0f928" providerId="LiveId" clId="{EB5B6FC8-FFF0-49A4-8C95-D8C96D79D1FD}" dt="2024-07-09T06:52:40.980" v="3960"/>
          <ac:spMkLst>
            <pc:docMk/>
            <pc:sldMk cId="1610908267" sldId="2611"/>
            <ac:spMk id="10" creationId="{9F3BD293-13FF-EE57-6437-2692D8B633DB}"/>
          </ac:spMkLst>
        </pc:spChg>
        <pc:picChg chg="add del mod">
          <ac:chgData name="Fabio Tempelmann" userId="40073039d7e0f928" providerId="LiveId" clId="{EB5B6FC8-FFF0-49A4-8C95-D8C96D79D1FD}" dt="2024-07-08T21:42:15.257" v="2676" actId="478"/>
          <ac:picMkLst>
            <pc:docMk/>
            <pc:sldMk cId="1610908267" sldId="2611"/>
            <ac:picMk id="7" creationId="{2B75F6F3-DD7C-52D7-D082-4EE34A272A55}"/>
          </ac:picMkLst>
        </pc:picChg>
        <pc:picChg chg="mod modCrop">
          <ac:chgData name="Fabio Tempelmann" userId="40073039d7e0f928" providerId="LiveId" clId="{EB5B6FC8-FFF0-49A4-8C95-D8C96D79D1FD}" dt="2024-07-08T21:42:04.318" v="2675" actId="1038"/>
          <ac:picMkLst>
            <pc:docMk/>
            <pc:sldMk cId="1610908267" sldId="2611"/>
            <ac:picMk id="9" creationId="{57077E9F-11B3-72C3-3CCA-5B56343377F1}"/>
          </ac:picMkLst>
        </pc:picChg>
      </pc:sldChg>
      <pc:sldChg chg="modSp mod modNotesTx">
        <pc:chgData name="Fabio Tempelmann" userId="40073039d7e0f928" providerId="LiveId" clId="{EB5B6FC8-FFF0-49A4-8C95-D8C96D79D1FD}" dt="2024-07-09T07:13:11.421" v="3980" actId="20577"/>
        <pc:sldMkLst>
          <pc:docMk/>
          <pc:sldMk cId="540498993" sldId="2612"/>
        </pc:sldMkLst>
        <pc:spChg chg="mod">
          <ac:chgData name="Fabio Tempelmann" userId="40073039d7e0f928" providerId="LiveId" clId="{EB5B6FC8-FFF0-49A4-8C95-D8C96D79D1FD}" dt="2024-07-09T07:13:11.421" v="3980" actId="20577"/>
          <ac:spMkLst>
            <pc:docMk/>
            <pc:sldMk cId="540498993" sldId="2612"/>
            <ac:spMk id="3" creationId="{656DFA4C-E0FA-1527-7229-2F36F0C56C10}"/>
          </ac:spMkLst>
        </pc:spChg>
        <pc:spChg chg="mod">
          <ac:chgData name="Fabio Tempelmann" userId="40073039d7e0f928" providerId="LiveId" clId="{EB5B6FC8-FFF0-49A4-8C95-D8C96D79D1FD}" dt="2024-07-09T06:51:50.934" v="3952" actId="20577"/>
          <ac:spMkLst>
            <pc:docMk/>
            <pc:sldMk cId="540498993" sldId="2612"/>
            <ac:spMk id="6" creationId="{0D14A461-00A8-E835-0DB1-83C99A0BCDBB}"/>
          </ac:spMkLst>
        </pc:spChg>
      </pc:sldChg>
      <pc:sldChg chg="modSp del mod">
        <pc:chgData name="Fabio Tempelmann" userId="40073039d7e0f928" providerId="LiveId" clId="{EB5B6FC8-FFF0-49A4-8C95-D8C96D79D1FD}" dt="2024-07-08T16:41:06.387" v="77" actId="47"/>
        <pc:sldMkLst>
          <pc:docMk/>
          <pc:sldMk cId="726954102" sldId="2613"/>
        </pc:sldMkLst>
        <pc:spChg chg="mod">
          <ac:chgData name="Fabio Tempelmann" userId="40073039d7e0f928" providerId="LiveId" clId="{EB5B6FC8-FFF0-49A4-8C95-D8C96D79D1FD}" dt="2024-07-08T16:39:05.887" v="25" actId="21"/>
          <ac:spMkLst>
            <pc:docMk/>
            <pc:sldMk cId="726954102" sldId="2613"/>
            <ac:spMk id="3" creationId="{119F49CA-1E28-3964-129D-3DBFD9C22079}"/>
          </ac:spMkLst>
        </pc:spChg>
      </pc:sldChg>
      <pc:sldChg chg="modSp del mod">
        <pc:chgData name="Fabio Tempelmann" userId="40073039d7e0f928" providerId="LiveId" clId="{EB5B6FC8-FFF0-49A4-8C95-D8C96D79D1FD}" dt="2024-07-08T21:31:09.859" v="2500" actId="47"/>
        <pc:sldMkLst>
          <pc:docMk/>
          <pc:sldMk cId="2467720124" sldId="2614"/>
        </pc:sldMkLst>
        <pc:spChg chg="mod">
          <ac:chgData name="Fabio Tempelmann" userId="40073039d7e0f928" providerId="LiveId" clId="{EB5B6FC8-FFF0-49A4-8C95-D8C96D79D1FD}" dt="2024-07-08T21:31:03.864" v="2499" actId="21"/>
          <ac:spMkLst>
            <pc:docMk/>
            <pc:sldMk cId="2467720124" sldId="2614"/>
            <ac:spMk id="3" creationId="{6ACE54F5-9274-2676-92F2-6FA102815195}"/>
          </ac:spMkLst>
        </pc:spChg>
      </pc:sldChg>
      <pc:sldChg chg="addSp delSp modSp mod modNotesTx">
        <pc:chgData name="Fabio Tempelmann" userId="40073039d7e0f928" providerId="LiveId" clId="{EB5B6FC8-FFF0-49A4-8C95-D8C96D79D1FD}" dt="2024-07-09T08:01:44.601" v="4010" actId="20577"/>
        <pc:sldMkLst>
          <pc:docMk/>
          <pc:sldMk cId="613046707" sldId="2615"/>
        </pc:sldMkLst>
        <pc:spChg chg="mod">
          <ac:chgData name="Fabio Tempelmann" userId="40073039d7e0f928" providerId="LiveId" clId="{EB5B6FC8-FFF0-49A4-8C95-D8C96D79D1FD}" dt="2024-07-08T18:03:54.982" v="575" actId="20577"/>
          <ac:spMkLst>
            <pc:docMk/>
            <pc:sldMk cId="613046707" sldId="2615"/>
            <ac:spMk id="2" creationId="{CD6E89A2-18D8-6419-F560-F366C886CF56}"/>
          </ac:spMkLst>
        </pc:spChg>
        <pc:spChg chg="mod">
          <ac:chgData name="Fabio Tempelmann" userId="40073039d7e0f928" providerId="LiveId" clId="{EB5B6FC8-FFF0-49A4-8C95-D8C96D79D1FD}" dt="2024-07-09T08:01:44.601" v="4010" actId="20577"/>
          <ac:spMkLst>
            <pc:docMk/>
            <pc:sldMk cId="613046707" sldId="2615"/>
            <ac:spMk id="3" creationId="{DB04BF01-8B06-6C7F-C06A-A075D945B14A}"/>
          </ac:spMkLst>
        </pc:spChg>
        <pc:spChg chg="del mod">
          <ac:chgData name="Fabio Tempelmann" userId="40073039d7e0f928" providerId="LiveId" clId="{EB5B6FC8-FFF0-49A4-8C95-D8C96D79D1FD}" dt="2024-07-09T06:52:54.839" v="3965" actId="478"/>
          <ac:spMkLst>
            <pc:docMk/>
            <pc:sldMk cId="613046707" sldId="2615"/>
            <ac:spMk id="6" creationId="{D24BC8D9-DD82-3083-D540-FB4F97DA472A}"/>
          </ac:spMkLst>
        </pc:spChg>
        <pc:spChg chg="add mod">
          <ac:chgData name="Fabio Tempelmann" userId="40073039d7e0f928" providerId="LiveId" clId="{EB5B6FC8-FFF0-49A4-8C95-D8C96D79D1FD}" dt="2024-07-09T06:52:55.552" v="3966"/>
          <ac:spMkLst>
            <pc:docMk/>
            <pc:sldMk cId="613046707" sldId="2615"/>
            <ac:spMk id="7" creationId="{C2DA279E-8888-1196-AB51-B8CD9D4638B4}"/>
          </ac:spMkLst>
        </pc:spChg>
        <pc:picChg chg="add mod modCrop">
          <ac:chgData name="Fabio Tempelmann" userId="40073039d7e0f928" providerId="LiveId" clId="{EB5B6FC8-FFF0-49A4-8C95-D8C96D79D1FD}" dt="2024-07-09T06:43:30.045" v="3928" actId="1037"/>
          <ac:picMkLst>
            <pc:docMk/>
            <pc:sldMk cId="613046707" sldId="2615"/>
            <ac:picMk id="9" creationId="{7EEC03C2-3B09-566D-D297-77975ACA7772}"/>
          </ac:picMkLst>
        </pc:picChg>
        <pc:picChg chg="add mod modCrop">
          <ac:chgData name="Fabio Tempelmann" userId="40073039d7e0f928" providerId="LiveId" clId="{EB5B6FC8-FFF0-49A4-8C95-D8C96D79D1FD}" dt="2024-07-08T18:11:29.054" v="784" actId="1076"/>
          <ac:picMkLst>
            <pc:docMk/>
            <pc:sldMk cId="613046707" sldId="2615"/>
            <ac:picMk id="10" creationId="{E0E83CB2-144F-A464-FDF0-BA73F5AC3552}"/>
          </ac:picMkLst>
        </pc:picChg>
      </pc:sldChg>
      <pc:sldChg chg="addSp delSp modSp mod modNotesTx">
        <pc:chgData name="Fabio Tempelmann" userId="40073039d7e0f928" providerId="LiveId" clId="{EB5B6FC8-FFF0-49A4-8C95-D8C96D79D1FD}" dt="2024-07-09T06:52:47.500" v="3963"/>
        <pc:sldMkLst>
          <pc:docMk/>
          <pc:sldMk cId="3779599434" sldId="2616"/>
        </pc:sldMkLst>
        <pc:spChg chg="mod">
          <ac:chgData name="Fabio Tempelmann" userId="40073039d7e0f928" providerId="LiveId" clId="{EB5B6FC8-FFF0-49A4-8C95-D8C96D79D1FD}" dt="2024-07-08T17:05:24.047" v="120" actId="20577"/>
          <ac:spMkLst>
            <pc:docMk/>
            <pc:sldMk cId="3779599434" sldId="2616"/>
            <ac:spMk id="2" creationId="{4B428B53-ADA6-8ED6-8939-4D317AD3930A}"/>
          </ac:spMkLst>
        </pc:spChg>
        <pc:spChg chg="mod">
          <ac:chgData name="Fabio Tempelmann" userId="40073039d7e0f928" providerId="LiveId" clId="{EB5B6FC8-FFF0-49A4-8C95-D8C96D79D1FD}" dt="2024-07-08T17:45:55.555" v="143" actId="21"/>
          <ac:spMkLst>
            <pc:docMk/>
            <pc:sldMk cId="3779599434" sldId="2616"/>
            <ac:spMk id="3" creationId="{D6B80701-303E-A7F5-3F23-331A5C4287D0}"/>
          </ac:spMkLst>
        </pc:spChg>
        <pc:spChg chg="mod">
          <ac:chgData name="Fabio Tempelmann" userId="40073039d7e0f928" providerId="LiveId" clId="{EB5B6FC8-FFF0-49A4-8C95-D8C96D79D1FD}" dt="2024-07-08T17:06:15.934" v="139" actId="790"/>
          <ac:spMkLst>
            <pc:docMk/>
            <pc:sldMk cId="3779599434" sldId="2616"/>
            <ac:spMk id="4" creationId="{EE9A81F8-5EE3-8A4B-2599-5A2812FA9AE4}"/>
          </ac:spMkLst>
        </pc:spChg>
        <pc:spChg chg="del mod">
          <ac:chgData name="Fabio Tempelmann" userId="40073039d7e0f928" providerId="LiveId" clId="{EB5B6FC8-FFF0-49A4-8C95-D8C96D79D1FD}" dt="2024-07-09T06:52:46.486" v="3962" actId="478"/>
          <ac:spMkLst>
            <pc:docMk/>
            <pc:sldMk cId="3779599434" sldId="2616"/>
            <ac:spMk id="6" creationId="{53CD58ED-6BDE-B064-6926-ECD20B217F86}"/>
          </ac:spMkLst>
        </pc:spChg>
        <pc:spChg chg="add mod">
          <ac:chgData name="Fabio Tempelmann" userId="40073039d7e0f928" providerId="LiveId" clId="{EB5B6FC8-FFF0-49A4-8C95-D8C96D79D1FD}" dt="2024-07-08T21:27:51.946" v="2474" actId="1076"/>
          <ac:spMkLst>
            <pc:docMk/>
            <pc:sldMk cId="3779599434" sldId="2616"/>
            <ac:spMk id="7" creationId="{F5E4302C-F6BF-9751-5946-7026A3A69995}"/>
          </ac:spMkLst>
        </pc:spChg>
        <pc:spChg chg="add mod">
          <ac:chgData name="Fabio Tempelmann" userId="40073039d7e0f928" providerId="LiveId" clId="{EB5B6FC8-FFF0-49A4-8C95-D8C96D79D1FD}" dt="2024-07-09T06:52:47.500" v="3963"/>
          <ac:spMkLst>
            <pc:docMk/>
            <pc:sldMk cId="3779599434" sldId="2616"/>
            <ac:spMk id="10" creationId="{05A478DB-7654-CDC7-F193-2C3FB6002A37}"/>
          </ac:spMkLst>
        </pc:spChg>
        <pc:picChg chg="add mod modCrop">
          <ac:chgData name="Fabio Tempelmann" userId="40073039d7e0f928" providerId="LiveId" clId="{EB5B6FC8-FFF0-49A4-8C95-D8C96D79D1FD}" dt="2024-07-08T17:47:37.292" v="300" actId="1076"/>
          <ac:picMkLst>
            <pc:docMk/>
            <pc:sldMk cId="3779599434" sldId="2616"/>
            <ac:picMk id="9" creationId="{11EA6478-E589-D429-C984-8F3648909A78}"/>
          </ac:picMkLst>
        </pc:picChg>
      </pc:sldChg>
      <pc:sldChg chg="addSp delSp modSp mod modNotesTx">
        <pc:chgData name="Fabio Tempelmann" userId="40073039d7e0f928" providerId="LiveId" clId="{EB5B6FC8-FFF0-49A4-8C95-D8C96D79D1FD}" dt="2024-07-09T07:13:48.768" v="3996" actId="20577"/>
        <pc:sldMkLst>
          <pc:docMk/>
          <pc:sldMk cId="4255596420" sldId="2617"/>
        </pc:sldMkLst>
        <pc:spChg chg="mod">
          <ac:chgData name="Fabio Tempelmann" userId="40073039d7e0f928" providerId="LiveId" clId="{EB5B6FC8-FFF0-49A4-8C95-D8C96D79D1FD}" dt="2024-07-08T18:12:15.137" v="789"/>
          <ac:spMkLst>
            <pc:docMk/>
            <pc:sldMk cId="4255596420" sldId="2617"/>
            <ac:spMk id="2" creationId="{0F09B24F-3BBC-2D6F-2AF6-056CCEE6C40F}"/>
          </ac:spMkLst>
        </pc:spChg>
        <pc:spChg chg="mod">
          <ac:chgData name="Fabio Tempelmann" userId="40073039d7e0f928" providerId="LiveId" clId="{EB5B6FC8-FFF0-49A4-8C95-D8C96D79D1FD}" dt="2024-07-09T07:13:48.768" v="3996" actId="20577"/>
          <ac:spMkLst>
            <pc:docMk/>
            <pc:sldMk cId="4255596420" sldId="2617"/>
            <ac:spMk id="3" creationId="{962E103C-432A-07C8-8ACF-08714EA0DF2D}"/>
          </ac:spMkLst>
        </pc:spChg>
        <pc:spChg chg="mod">
          <ac:chgData name="Fabio Tempelmann" userId="40073039d7e0f928" providerId="LiveId" clId="{EB5B6FC8-FFF0-49A4-8C95-D8C96D79D1FD}" dt="2024-07-08T18:12:31.671" v="798" actId="790"/>
          <ac:spMkLst>
            <pc:docMk/>
            <pc:sldMk cId="4255596420" sldId="2617"/>
            <ac:spMk id="4" creationId="{C69BF9AB-9850-FC93-3FC8-DEC1D3353FC1}"/>
          </ac:spMkLst>
        </pc:spChg>
        <pc:spChg chg="del">
          <ac:chgData name="Fabio Tempelmann" userId="40073039d7e0f928" providerId="LiveId" clId="{EB5B6FC8-FFF0-49A4-8C95-D8C96D79D1FD}" dt="2024-07-09T06:52:59.942" v="3967" actId="478"/>
          <ac:spMkLst>
            <pc:docMk/>
            <pc:sldMk cId="4255596420" sldId="2617"/>
            <ac:spMk id="6" creationId="{FDD0438A-C5AF-633A-4FE9-F820AD03ABB7}"/>
          </ac:spMkLst>
        </pc:spChg>
        <pc:spChg chg="add mod">
          <ac:chgData name="Fabio Tempelmann" userId="40073039d7e0f928" providerId="LiveId" clId="{EB5B6FC8-FFF0-49A4-8C95-D8C96D79D1FD}" dt="2024-07-09T06:53:00.621" v="3968"/>
          <ac:spMkLst>
            <pc:docMk/>
            <pc:sldMk cId="4255596420" sldId="2617"/>
            <ac:spMk id="7" creationId="{88F29261-6E23-2633-DC4C-5A809699311A}"/>
          </ac:spMkLst>
        </pc:spChg>
        <pc:spChg chg="add del">
          <ac:chgData name="Fabio Tempelmann" userId="40073039d7e0f928" providerId="LiveId" clId="{EB5B6FC8-FFF0-49A4-8C95-D8C96D79D1FD}" dt="2024-07-08T18:11:15.556" v="780" actId="22"/>
          <ac:spMkLst>
            <pc:docMk/>
            <pc:sldMk cId="4255596420" sldId="2617"/>
            <ac:spMk id="9" creationId="{5CBB98D3-3CFD-72AB-DC41-EEC64844F634}"/>
          </ac:spMkLst>
        </pc:spChg>
        <pc:picChg chg="add del mod">
          <ac:chgData name="Fabio Tempelmann" userId="40073039d7e0f928" providerId="LiveId" clId="{EB5B6FC8-FFF0-49A4-8C95-D8C96D79D1FD}" dt="2024-07-08T18:11:44.712" v="786" actId="478"/>
          <ac:picMkLst>
            <pc:docMk/>
            <pc:sldMk cId="4255596420" sldId="2617"/>
            <ac:picMk id="10" creationId="{E4D4098A-8551-36E7-187E-993AACC42BB3}"/>
          </ac:picMkLst>
        </pc:picChg>
        <pc:picChg chg="add mod modCrop">
          <ac:chgData name="Fabio Tempelmann" userId="40073039d7e0f928" providerId="LiveId" clId="{EB5B6FC8-FFF0-49A4-8C95-D8C96D79D1FD}" dt="2024-07-08T18:12:02.641" v="788" actId="1076"/>
          <ac:picMkLst>
            <pc:docMk/>
            <pc:sldMk cId="4255596420" sldId="2617"/>
            <ac:picMk id="11" creationId="{4E0C87F6-8147-6D2D-AD31-FB535D6A13FF}"/>
          </ac:picMkLst>
        </pc:picChg>
      </pc:sldChg>
      <pc:sldChg chg="modSp del mod">
        <pc:chgData name="Fabio Tempelmann" userId="40073039d7e0f928" providerId="LiveId" clId="{EB5B6FC8-FFF0-49A4-8C95-D8C96D79D1FD}" dt="2024-07-08T18:22:12.005" v="969" actId="47"/>
        <pc:sldMkLst>
          <pc:docMk/>
          <pc:sldMk cId="2491762517" sldId="2618"/>
        </pc:sldMkLst>
        <pc:spChg chg="mod">
          <ac:chgData name="Fabio Tempelmann" userId="40073039d7e0f928" providerId="LiveId" clId="{EB5B6FC8-FFF0-49A4-8C95-D8C96D79D1FD}" dt="2024-07-08T18:22:01.376" v="966" actId="21"/>
          <ac:spMkLst>
            <pc:docMk/>
            <pc:sldMk cId="2491762517" sldId="2618"/>
            <ac:spMk id="3" creationId="{4ABC5DF8-23C6-2D4F-12AC-D4A2FEAF9D44}"/>
          </ac:spMkLst>
        </pc:spChg>
      </pc:sldChg>
      <pc:sldChg chg="addSp delSp modSp mod modNotesTx">
        <pc:chgData name="Fabio Tempelmann" userId="40073039d7e0f928" providerId="LiveId" clId="{EB5B6FC8-FFF0-49A4-8C95-D8C96D79D1FD}" dt="2024-07-09T06:53:09.031" v="3972"/>
        <pc:sldMkLst>
          <pc:docMk/>
          <pc:sldMk cId="3999320109" sldId="2619"/>
        </pc:sldMkLst>
        <pc:spChg chg="mod">
          <ac:chgData name="Fabio Tempelmann" userId="40073039d7e0f928" providerId="LiveId" clId="{EB5B6FC8-FFF0-49A4-8C95-D8C96D79D1FD}" dt="2024-07-08T18:31:16.977" v="1071" actId="20577"/>
          <ac:spMkLst>
            <pc:docMk/>
            <pc:sldMk cId="3999320109" sldId="2619"/>
            <ac:spMk id="2" creationId="{B06451F0-EAA2-A64F-1294-89017A8BF56E}"/>
          </ac:spMkLst>
        </pc:spChg>
        <pc:spChg chg="mod">
          <ac:chgData name="Fabio Tempelmann" userId="40073039d7e0f928" providerId="LiveId" clId="{EB5B6FC8-FFF0-49A4-8C95-D8C96D79D1FD}" dt="2024-07-08T18:38:32.943" v="1230" actId="20577"/>
          <ac:spMkLst>
            <pc:docMk/>
            <pc:sldMk cId="3999320109" sldId="2619"/>
            <ac:spMk id="3" creationId="{DEA9C52A-3324-824D-119C-F1F10229B107}"/>
          </ac:spMkLst>
        </pc:spChg>
        <pc:spChg chg="mod">
          <ac:chgData name="Fabio Tempelmann" userId="40073039d7e0f928" providerId="LiveId" clId="{EB5B6FC8-FFF0-49A4-8C95-D8C96D79D1FD}" dt="2024-07-08T18:31:07.887" v="1061" actId="790"/>
          <ac:spMkLst>
            <pc:docMk/>
            <pc:sldMk cId="3999320109" sldId="2619"/>
            <ac:spMk id="4" creationId="{01A7B873-763C-59C3-4A83-6D9B9B4796E0}"/>
          </ac:spMkLst>
        </pc:spChg>
        <pc:spChg chg="del">
          <ac:chgData name="Fabio Tempelmann" userId="40073039d7e0f928" providerId="LiveId" clId="{EB5B6FC8-FFF0-49A4-8C95-D8C96D79D1FD}" dt="2024-07-09T06:53:08.635" v="3971" actId="478"/>
          <ac:spMkLst>
            <pc:docMk/>
            <pc:sldMk cId="3999320109" sldId="2619"/>
            <ac:spMk id="6" creationId="{C69B1880-7D9F-8BEE-66FC-35331466B1DC}"/>
          </ac:spMkLst>
        </pc:spChg>
        <pc:spChg chg="add mod">
          <ac:chgData name="Fabio Tempelmann" userId="40073039d7e0f928" providerId="LiveId" clId="{EB5B6FC8-FFF0-49A4-8C95-D8C96D79D1FD}" dt="2024-07-09T06:53:09.031" v="3972"/>
          <ac:spMkLst>
            <pc:docMk/>
            <pc:sldMk cId="3999320109" sldId="2619"/>
            <ac:spMk id="7" creationId="{9357C34B-9E9F-99A3-B969-2075F6EC4F9F}"/>
          </ac:spMkLst>
        </pc:spChg>
      </pc:sldChg>
      <pc:sldChg chg="addSp delSp modSp mod">
        <pc:chgData name="Fabio Tempelmann" userId="40073039d7e0f928" providerId="LiveId" clId="{EB5B6FC8-FFF0-49A4-8C95-D8C96D79D1FD}" dt="2024-07-09T08:03:02.843" v="4023" actId="790"/>
        <pc:sldMkLst>
          <pc:docMk/>
          <pc:sldMk cId="2813521063" sldId="2620"/>
        </pc:sldMkLst>
        <pc:spChg chg="mod">
          <ac:chgData name="Fabio Tempelmann" userId="40073039d7e0f928" providerId="LiveId" clId="{EB5B6FC8-FFF0-49A4-8C95-D8C96D79D1FD}" dt="2024-07-08T22:34:51.513" v="3279" actId="20577"/>
          <ac:spMkLst>
            <pc:docMk/>
            <pc:sldMk cId="2813521063" sldId="2620"/>
            <ac:spMk id="2" creationId="{EECD8BF2-BE2A-FD9C-0381-095237E0C1E1}"/>
          </ac:spMkLst>
        </pc:spChg>
        <pc:spChg chg="mod">
          <ac:chgData name="Fabio Tempelmann" userId="40073039d7e0f928" providerId="LiveId" clId="{EB5B6FC8-FFF0-49A4-8C95-D8C96D79D1FD}" dt="2024-07-09T08:03:02.843" v="4023" actId="790"/>
          <ac:spMkLst>
            <pc:docMk/>
            <pc:sldMk cId="2813521063" sldId="2620"/>
            <ac:spMk id="3" creationId="{0ADE8D7E-7AB4-084D-06BF-C3AC396ABDB4}"/>
          </ac:spMkLst>
        </pc:spChg>
        <pc:spChg chg="add mod">
          <ac:chgData name="Fabio Tempelmann" userId="40073039d7e0f928" providerId="LiveId" clId="{EB5B6FC8-FFF0-49A4-8C95-D8C96D79D1FD}" dt="2024-07-09T06:53:18.287" v="3976"/>
          <ac:spMkLst>
            <pc:docMk/>
            <pc:sldMk cId="2813521063" sldId="2620"/>
            <ac:spMk id="4" creationId="{45332841-71FF-4969-E45E-556A3B44E5BE}"/>
          </ac:spMkLst>
        </pc:spChg>
        <pc:spChg chg="del mod">
          <ac:chgData name="Fabio Tempelmann" userId="40073039d7e0f928" providerId="LiveId" clId="{EB5B6FC8-FFF0-49A4-8C95-D8C96D79D1FD}" dt="2024-07-08T23:06:42.738" v="3545" actId="478"/>
          <ac:spMkLst>
            <pc:docMk/>
            <pc:sldMk cId="2813521063" sldId="2620"/>
            <ac:spMk id="4" creationId="{9E0B7F1A-FD38-50FA-C187-3BE4CBCEDA17}"/>
          </ac:spMkLst>
        </pc:spChg>
        <pc:spChg chg="del">
          <ac:chgData name="Fabio Tempelmann" userId="40073039d7e0f928" providerId="LiveId" clId="{EB5B6FC8-FFF0-49A4-8C95-D8C96D79D1FD}" dt="2024-07-09T06:53:17.969" v="3975" actId="478"/>
          <ac:spMkLst>
            <pc:docMk/>
            <pc:sldMk cId="2813521063" sldId="2620"/>
            <ac:spMk id="6" creationId="{39C4AB67-CE6E-70CF-579E-ABD4D3174C0E}"/>
          </ac:spMkLst>
        </pc:spChg>
      </pc:sldChg>
      <pc:sldChg chg="del">
        <pc:chgData name="Fabio Tempelmann" userId="40073039d7e0f928" providerId="LiveId" clId="{EB5B6FC8-FFF0-49A4-8C95-D8C96D79D1FD}" dt="2024-07-08T22:35:13.107" v="3285" actId="47"/>
        <pc:sldMkLst>
          <pc:docMk/>
          <pc:sldMk cId="2088587742" sldId="2621"/>
        </pc:sldMkLst>
      </pc:sldChg>
      <pc:sldChg chg="addSp delSp modSp mod">
        <pc:chgData name="Fabio Tempelmann" userId="40073039d7e0f928" providerId="LiveId" clId="{EB5B6FC8-FFF0-49A4-8C95-D8C96D79D1FD}" dt="2024-07-08T22:40:41.630" v="3393" actId="20577"/>
        <pc:sldMkLst>
          <pc:docMk/>
          <pc:sldMk cId="3699875884" sldId="2622"/>
        </pc:sldMkLst>
        <pc:spChg chg="mod">
          <ac:chgData name="Fabio Tempelmann" userId="40073039d7e0f928" providerId="LiveId" clId="{EB5B6FC8-FFF0-49A4-8C95-D8C96D79D1FD}" dt="2024-07-08T22:40:41.630" v="3393" actId="20577"/>
          <ac:spMkLst>
            <pc:docMk/>
            <pc:sldMk cId="3699875884" sldId="2622"/>
            <ac:spMk id="2" creationId="{DA137844-A55F-2753-5E77-F96D579BA6CE}"/>
          </ac:spMkLst>
        </pc:spChg>
        <pc:spChg chg="mod">
          <ac:chgData name="Fabio Tempelmann" userId="40073039d7e0f928" providerId="LiveId" clId="{EB5B6FC8-FFF0-49A4-8C95-D8C96D79D1FD}" dt="2024-07-08T22:37:46.918" v="3318" actId="14100"/>
          <ac:spMkLst>
            <pc:docMk/>
            <pc:sldMk cId="3699875884" sldId="2622"/>
            <ac:spMk id="3" creationId="{4EC9BD91-3541-5FC3-C4DE-AA8509C0C42D}"/>
          </ac:spMkLst>
        </pc:spChg>
        <pc:spChg chg="del">
          <ac:chgData name="Fabio Tempelmann" userId="40073039d7e0f928" providerId="LiveId" clId="{EB5B6FC8-FFF0-49A4-8C95-D8C96D79D1FD}" dt="2024-07-08T22:36:16.966" v="3302" actId="478"/>
          <ac:spMkLst>
            <pc:docMk/>
            <pc:sldMk cId="3699875884" sldId="2622"/>
            <ac:spMk id="4" creationId="{95439FC4-EC70-119D-18B8-7C798EB18E64}"/>
          </ac:spMkLst>
        </pc:spChg>
        <pc:spChg chg="del">
          <ac:chgData name="Fabio Tempelmann" userId="40073039d7e0f928" providerId="LiveId" clId="{EB5B6FC8-FFF0-49A4-8C95-D8C96D79D1FD}" dt="2024-07-08T22:36:18.959" v="3303" actId="478"/>
          <ac:spMkLst>
            <pc:docMk/>
            <pc:sldMk cId="3699875884" sldId="2622"/>
            <ac:spMk id="5" creationId="{7C26109C-29EA-2CD8-3D27-1D7C0876211A}"/>
          </ac:spMkLst>
        </pc:spChg>
        <pc:spChg chg="add del">
          <ac:chgData name="Fabio Tempelmann" userId="40073039d7e0f928" providerId="LiveId" clId="{EB5B6FC8-FFF0-49A4-8C95-D8C96D79D1FD}" dt="2024-07-08T22:38:04.033" v="3320" actId="22"/>
          <ac:spMkLst>
            <pc:docMk/>
            <pc:sldMk cId="3699875884" sldId="2622"/>
            <ac:spMk id="7" creationId="{E69B8C5D-1C9A-1C48-3AFB-61B0E6C41C31}"/>
          </ac:spMkLst>
        </pc:spChg>
        <pc:spChg chg="add mod">
          <ac:chgData name="Fabio Tempelmann" userId="40073039d7e0f928" providerId="LiveId" clId="{EB5B6FC8-FFF0-49A4-8C95-D8C96D79D1FD}" dt="2024-07-08T22:38:17.192" v="3322"/>
          <ac:spMkLst>
            <pc:docMk/>
            <pc:sldMk cId="3699875884" sldId="2622"/>
            <ac:spMk id="8" creationId="{31126E39-7FBE-E88F-7E10-67469314728B}"/>
          </ac:spMkLst>
        </pc:spChg>
        <pc:spChg chg="add mod">
          <ac:chgData name="Fabio Tempelmann" userId="40073039d7e0f928" providerId="LiveId" clId="{EB5B6FC8-FFF0-49A4-8C95-D8C96D79D1FD}" dt="2024-07-08T22:39:00.801" v="3336" actId="1076"/>
          <ac:spMkLst>
            <pc:docMk/>
            <pc:sldMk cId="3699875884" sldId="2622"/>
            <ac:spMk id="10" creationId="{B3553B57-84C9-00D1-FDF7-0223ABA64131}"/>
          </ac:spMkLst>
        </pc:spChg>
      </pc:sldChg>
      <pc:sldChg chg="addSp delSp modSp mod modNotesTx">
        <pc:chgData name="Fabio Tempelmann" userId="40073039d7e0f928" providerId="LiveId" clId="{EB5B6FC8-FFF0-49A4-8C95-D8C96D79D1FD}" dt="2024-07-09T09:59:07.193" v="4032" actId="20577"/>
        <pc:sldMkLst>
          <pc:docMk/>
          <pc:sldMk cId="1534242956" sldId="2623"/>
        </pc:sldMkLst>
        <pc:spChg chg="mod">
          <ac:chgData name="Fabio Tempelmann" userId="40073039d7e0f928" providerId="LiveId" clId="{EB5B6FC8-FFF0-49A4-8C95-D8C96D79D1FD}" dt="2024-07-08T18:38:53.056" v="1243" actId="20577"/>
          <ac:spMkLst>
            <pc:docMk/>
            <pc:sldMk cId="1534242956" sldId="2623"/>
            <ac:spMk id="2" creationId="{1C065F28-128F-F16D-1063-4166E438D7BB}"/>
          </ac:spMkLst>
        </pc:spChg>
        <pc:spChg chg="mod">
          <ac:chgData name="Fabio Tempelmann" userId="40073039d7e0f928" providerId="LiveId" clId="{EB5B6FC8-FFF0-49A4-8C95-D8C96D79D1FD}" dt="2024-07-09T09:59:07.193" v="4032" actId="20577"/>
          <ac:spMkLst>
            <pc:docMk/>
            <pc:sldMk cId="1534242956" sldId="2623"/>
            <ac:spMk id="3" creationId="{8BBF483F-29FE-748C-7956-DD7C22BE0402}"/>
          </ac:spMkLst>
        </pc:spChg>
        <pc:spChg chg="mod">
          <ac:chgData name="Fabio Tempelmann" userId="40073039d7e0f928" providerId="LiveId" clId="{EB5B6FC8-FFF0-49A4-8C95-D8C96D79D1FD}" dt="2024-07-08T18:39:02.312" v="1244" actId="790"/>
          <ac:spMkLst>
            <pc:docMk/>
            <pc:sldMk cId="1534242956" sldId="2623"/>
            <ac:spMk id="4" creationId="{F2C4E1C4-A11F-EBEF-A4E4-DEF7CB21DF35}"/>
          </ac:spMkLst>
        </pc:spChg>
        <pc:spChg chg="del">
          <ac:chgData name="Fabio Tempelmann" userId="40073039d7e0f928" providerId="LiveId" clId="{EB5B6FC8-FFF0-49A4-8C95-D8C96D79D1FD}" dt="2024-07-09T06:53:13.866" v="3973" actId="478"/>
          <ac:spMkLst>
            <pc:docMk/>
            <pc:sldMk cId="1534242956" sldId="2623"/>
            <ac:spMk id="6" creationId="{3FA81749-DF54-AEF5-9AC9-8E8610E781B8}"/>
          </ac:spMkLst>
        </pc:spChg>
        <pc:spChg chg="add mod">
          <ac:chgData name="Fabio Tempelmann" userId="40073039d7e0f928" providerId="LiveId" clId="{EB5B6FC8-FFF0-49A4-8C95-D8C96D79D1FD}" dt="2024-07-09T06:53:14.087" v="3974"/>
          <ac:spMkLst>
            <pc:docMk/>
            <pc:sldMk cId="1534242956" sldId="2623"/>
            <ac:spMk id="9" creationId="{F0934FD7-BBEA-F4BB-F97D-0949980BFC52}"/>
          </ac:spMkLst>
        </pc:spChg>
        <pc:picChg chg="add mod ord">
          <ac:chgData name="Fabio Tempelmann" userId="40073039d7e0f928" providerId="LiveId" clId="{EB5B6FC8-FFF0-49A4-8C95-D8C96D79D1FD}" dt="2024-07-08T20:37:04.105" v="1577" actId="1076"/>
          <ac:picMkLst>
            <pc:docMk/>
            <pc:sldMk cId="1534242956" sldId="2623"/>
            <ac:picMk id="7" creationId="{B15EE3DA-AD8A-E9CA-979A-172BDFDBAC2B}"/>
          </ac:picMkLst>
        </pc:picChg>
      </pc:sldChg>
      <pc:sldChg chg="addSp delSp modSp add mod modNotesTx">
        <pc:chgData name="Fabio Tempelmann" userId="40073039d7e0f928" providerId="LiveId" clId="{EB5B6FC8-FFF0-49A4-8C95-D8C96D79D1FD}" dt="2024-07-09T06:53:04.794" v="3970"/>
        <pc:sldMkLst>
          <pc:docMk/>
          <pc:sldMk cId="2355694649" sldId="2624"/>
        </pc:sldMkLst>
        <pc:spChg chg="mod">
          <ac:chgData name="Fabio Tempelmann" userId="40073039d7e0f928" providerId="LiveId" clId="{EB5B6FC8-FFF0-49A4-8C95-D8C96D79D1FD}" dt="2024-07-08T22:01:39.872" v="3012" actId="20577"/>
          <ac:spMkLst>
            <pc:docMk/>
            <pc:sldMk cId="2355694649" sldId="2624"/>
            <ac:spMk id="3" creationId="{962E103C-432A-07C8-8ACF-08714EA0DF2D}"/>
          </ac:spMkLst>
        </pc:spChg>
        <pc:spChg chg="mod">
          <ac:chgData name="Fabio Tempelmann" userId="40073039d7e0f928" providerId="LiveId" clId="{EB5B6FC8-FFF0-49A4-8C95-D8C96D79D1FD}" dt="2024-07-08T18:21:53.623" v="965" actId="20577"/>
          <ac:spMkLst>
            <pc:docMk/>
            <pc:sldMk cId="2355694649" sldId="2624"/>
            <ac:spMk id="4" creationId="{C69BF9AB-9850-FC93-3FC8-DEC1D3353FC1}"/>
          </ac:spMkLst>
        </pc:spChg>
        <pc:spChg chg="del">
          <ac:chgData name="Fabio Tempelmann" userId="40073039d7e0f928" providerId="LiveId" clId="{EB5B6FC8-FFF0-49A4-8C95-D8C96D79D1FD}" dt="2024-07-09T06:53:04.041" v="3969" actId="478"/>
          <ac:spMkLst>
            <pc:docMk/>
            <pc:sldMk cId="2355694649" sldId="2624"/>
            <ac:spMk id="6" creationId="{FDD0438A-C5AF-633A-4FE9-F820AD03ABB7}"/>
          </ac:spMkLst>
        </pc:spChg>
        <pc:spChg chg="add mod">
          <ac:chgData name="Fabio Tempelmann" userId="40073039d7e0f928" providerId="LiveId" clId="{EB5B6FC8-FFF0-49A4-8C95-D8C96D79D1FD}" dt="2024-07-09T06:53:04.794" v="3970"/>
          <ac:spMkLst>
            <pc:docMk/>
            <pc:sldMk cId="2355694649" sldId="2624"/>
            <ac:spMk id="9" creationId="{5AF4736D-B664-099F-A7E3-FC0FFC969E1D}"/>
          </ac:spMkLst>
        </pc:spChg>
        <pc:picChg chg="add mod modCrop">
          <ac:chgData name="Fabio Tempelmann" userId="40073039d7e0f928" providerId="LiveId" clId="{EB5B6FC8-FFF0-49A4-8C95-D8C96D79D1FD}" dt="2024-07-08T22:02:18.164" v="3017" actId="1076"/>
          <ac:picMkLst>
            <pc:docMk/>
            <pc:sldMk cId="2355694649" sldId="2624"/>
            <ac:picMk id="7" creationId="{270BEE09-D38E-34AB-F5FC-1122B3A0152B}"/>
          </ac:picMkLst>
        </pc:picChg>
        <pc:picChg chg="del">
          <ac:chgData name="Fabio Tempelmann" userId="40073039d7e0f928" providerId="LiveId" clId="{EB5B6FC8-FFF0-49A4-8C95-D8C96D79D1FD}" dt="2024-07-08T18:22:08.390" v="968" actId="478"/>
          <ac:picMkLst>
            <pc:docMk/>
            <pc:sldMk cId="2355694649" sldId="2624"/>
            <ac:picMk id="11" creationId="{4E0C87F6-8147-6D2D-AD31-FB535D6A13FF}"/>
          </ac:picMkLst>
        </pc:picChg>
      </pc:sldChg>
    </pc:docChg>
  </pc:docChgLst>
  <pc:docChgLst>
    <pc:chgData name="Fabio Tempelmann" userId="40073039d7e0f928" providerId="LiveId" clId="{CC6E55F6-28AA-400B-BA84-189BD921E8AC}"/>
    <pc:docChg chg="undo redo custSel addSld delSld modSld sldOrd modMainMaster modSection">
      <pc:chgData name="Fabio Tempelmann" userId="40073039d7e0f928" providerId="LiveId" clId="{CC6E55F6-28AA-400B-BA84-189BD921E8AC}" dt="2023-06-23T20:54:57.312" v="4982"/>
      <pc:docMkLst>
        <pc:docMk/>
      </pc:docMkLst>
      <pc:sldChg chg="addSp delSp modSp mod">
        <pc:chgData name="Fabio Tempelmann" userId="40073039d7e0f928" providerId="LiveId" clId="{CC6E55F6-28AA-400B-BA84-189BD921E8AC}" dt="2023-06-23T20:29:50.243" v="4663" actId="20577"/>
        <pc:sldMkLst>
          <pc:docMk/>
          <pc:sldMk cId="3988927373" sldId="2607"/>
        </pc:sldMkLst>
        <pc:spChg chg="add mod">
          <ac:chgData name="Fabio Tempelmann" userId="40073039d7e0f928" providerId="LiveId" clId="{CC6E55F6-28AA-400B-BA84-189BD921E8AC}" dt="2023-06-23T18:59:40.281" v="1462"/>
          <ac:spMkLst>
            <pc:docMk/>
            <pc:sldMk cId="3988927373" sldId="2607"/>
            <ac:spMk id="2" creationId="{BAF7F3E7-3396-A051-7211-BFC78F2FA1B9}"/>
          </ac:spMkLst>
        </pc:spChg>
        <pc:spChg chg="add mod">
          <ac:chgData name="Fabio Tempelmann" userId="40073039d7e0f928" providerId="LiveId" clId="{CC6E55F6-28AA-400B-BA84-189BD921E8AC}" dt="2023-06-23T18:59:40.281" v="1462"/>
          <ac:spMkLst>
            <pc:docMk/>
            <pc:sldMk cId="3988927373" sldId="2607"/>
            <ac:spMk id="3" creationId="{6C7966F0-C6CF-B0A4-A352-73068BD25128}"/>
          </ac:spMkLst>
        </pc:spChg>
        <pc:spChg chg="mod">
          <ac:chgData name="Fabio Tempelmann" userId="40073039d7e0f928" providerId="LiveId" clId="{CC6E55F6-28AA-400B-BA84-189BD921E8AC}" dt="2023-06-23T20:29:41.831" v="4655" actId="20577"/>
          <ac:spMkLst>
            <pc:docMk/>
            <pc:sldMk cId="3988927373" sldId="2607"/>
            <ac:spMk id="14" creationId="{2DDE3C1A-D220-4967-B006-B2121B16A98B}"/>
          </ac:spMkLst>
        </pc:spChg>
        <pc:spChg chg="mod">
          <ac:chgData name="Fabio Tempelmann" userId="40073039d7e0f928" providerId="LiveId" clId="{CC6E55F6-28AA-400B-BA84-189BD921E8AC}" dt="2023-06-23T20:29:50.243" v="4663" actId="20577"/>
          <ac:spMkLst>
            <pc:docMk/>
            <pc:sldMk cId="3988927373" sldId="2607"/>
            <ac:spMk id="16" creationId="{1F185D0F-8F47-4370-BC15-0EDB18FB25CA}"/>
          </ac:spMkLst>
        </pc:spChg>
        <pc:spChg chg="del">
          <ac:chgData name="Fabio Tempelmann" userId="40073039d7e0f928" providerId="LiveId" clId="{CC6E55F6-28AA-400B-BA84-189BD921E8AC}" dt="2023-06-23T18:59:40.141" v="1461" actId="478"/>
          <ac:spMkLst>
            <pc:docMk/>
            <pc:sldMk cId="3988927373" sldId="2607"/>
            <ac:spMk id="21" creationId="{27D149F8-175B-4081-965E-C02F9D10511B}"/>
          </ac:spMkLst>
        </pc:spChg>
        <pc:spChg chg="del">
          <ac:chgData name="Fabio Tempelmann" userId="40073039d7e0f928" providerId="LiveId" clId="{CC6E55F6-28AA-400B-BA84-189BD921E8AC}" dt="2023-06-23T18:59:40.141" v="1461" actId="478"/>
          <ac:spMkLst>
            <pc:docMk/>
            <pc:sldMk cId="3988927373" sldId="2607"/>
            <ac:spMk id="22" creationId="{07B0A01A-B7B8-4479-897B-050E784E80EA}"/>
          </ac:spMkLst>
        </pc:spChg>
        <pc:spChg chg="del">
          <ac:chgData name="Fabio Tempelmann" userId="40073039d7e0f928" providerId="LiveId" clId="{CC6E55F6-28AA-400B-BA84-189BD921E8AC}" dt="2023-06-23T18:59:40.141" v="1461" actId="478"/>
          <ac:spMkLst>
            <pc:docMk/>
            <pc:sldMk cId="3988927373" sldId="2607"/>
            <ac:spMk id="23" creationId="{280ED7ED-E9C4-4638-AE85-2B7C19666896}"/>
          </ac:spMkLst>
        </pc:spChg>
        <pc:spChg chg="add mod">
          <ac:chgData name="Fabio Tempelmann" userId="40073039d7e0f928" providerId="LiveId" clId="{CC6E55F6-28AA-400B-BA84-189BD921E8AC}" dt="2023-06-23T18:59:40.281" v="1462"/>
          <ac:spMkLst>
            <pc:docMk/>
            <pc:sldMk cId="3988927373" sldId="2607"/>
            <ac:spMk id="24" creationId="{C16AB002-5FAB-8209-C75E-5637C9B77DE7}"/>
          </ac:spMkLst>
        </pc:spChg>
      </pc:sldChg>
      <pc:sldChg chg="modSp mod">
        <pc:chgData name="Fabio Tempelmann" userId="40073039d7e0f928" providerId="LiveId" clId="{CC6E55F6-28AA-400B-BA84-189BD921E8AC}" dt="2023-06-23T20:24:08.571" v="4486" actId="20577"/>
        <pc:sldMkLst>
          <pc:docMk/>
          <pc:sldMk cId="81604581" sldId="2612"/>
        </pc:sldMkLst>
        <pc:spChg chg="mod">
          <ac:chgData name="Fabio Tempelmann" userId="40073039d7e0f928" providerId="LiveId" clId="{CC6E55F6-28AA-400B-BA84-189BD921E8AC}" dt="2023-06-23T20:24:08.571" v="4486" actId="20577"/>
          <ac:spMkLst>
            <pc:docMk/>
            <pc:sldMk cId="81604581" sldId="2612"/>
            <ac:spMk id="3" creationId="{C59B53F4-D47F-C4EF-0239-CEDECD8F33C3}"/>
          </ac:spMkLst>
        </pc:spChg>
      </pc:sldChg>
      <pc:sldChg chg="addSp delSp modSp mod">
        <pc:chgData name="Fabio Tempelmann" userId="40073039d7e0f928" providerId="LiveId" clId="{CC6E55F6-28AA-400B-BA84-189BD921E8AC}" dt="2023-06-23T18:58:26.926" v="1433"/>
        <pc:sldMkLst>
          <pc:docMk/>
          <pc:sldMk cId="196490722" sldId="2615"/>
        </pc:sldMkLst>
        <pc:spChg chg="mod">
          <ac:chgData name="Fabio Tempelmann" userId="40073039d7e0f928" providerId="LiveId" clId="{CC6E55F6-28AA-400B-BA84-189BD921E8AC}" dt="2023-06-23T18:43:54.169" v="1082" actId="20577"/>
          <ac:spMkLst>
            <pc:docMk/>
            <pc:sldMk cId="196490722" sldId="2615"/>
            <ac:spMk id="3" creationId="{F63CF862-A11A-D3EA-2561-1E9477B24F67}"/>
          </ac:spMkLst>
        </pc:spChg>
        <pc:spChg chg="del">
          <ac:chgData name="Fabio Tempelmann" userId="40073039d7e0f928" providerId="LiveId" clId="{CC6E55F6-28AA-400B-BA84-189BD921E8AC}" dt="2023-06-23T18:58:26.765" v="1432" actId="478"/>
          <ac:spMkLst>
            <pc:docMk/>
            <pc:sldMk cId="196490722" sldId="2615"/>
            <ac:spMk id="5" creationId="{0857C5A8-E7CB-9704-CED9-765D26A2ECC6}"/>
          </ac:spMkLst>
        </pc:spChg>
        <pc:spChg chg="del">
          <ac:chgData name="Fabio Tempelmann" userId="40073039d7e0f928" providerId="LiveId" clId="{CC6E55F6-28AA-400B-BA84-189BD921E8AC}" dt="2023-06-23T18:58:26.765" v="1432" actId="478"/>
          <ac:spMkLst>
            <pc:docMk/>
            <pc:sldMk cId="196490722" sldId="2615"/>
            <ac:spMk id="6" creationId="{2D3C4A12-304F-74E5-3C6F-111AA6BE3C5B}"/>
          </ac:spMkLst>
        </pc:spChg>
        <pc:spChg chg="del">
          <ac:chgData name="Fabio Tempelmann" userId="40073039d7e0f928" providerId="LiveId" clId="{CC6E55F6-28AA-400B-BA84-189BD921E8AC}" dt="2023-06-23T18:58:26.765" v="1432" actId="478"/>
          <ac:spMkLst>
            <pc:docMk/>
            <pc:sldMk cId="196490722" sldId="2615"/>
            <ac:spMk id="7" creationId="{A45959BF-6643-A169-C703-51A1B1F539D7}"/>
          </ac:spMkLst>
        </pc:spChg>
        <pc:spChg chg="add mod">
          <ac:chgData name="Fabio Tempelmann" userId="40073039d7e0f928" providerId="LiveId" clId="{CC6E55F6-28AA-400B-BA84-189BD921E8AC}" dt="2023-06-23T18:58:26.926" v="1433"/>
          <ac:spMkLst>
            <pc:docMk/>
            <pc:sldMk cId="196490722" sldId="2615"/>
            <ac:spMk id="8" creationId="{9EAF87F5-9C65-FDB2-E77E-C1B1605E397E}"/>
          </ac:spMkLst>
        </pc:spChg>
        <pc:spChg chg="add mod">
          <ac:chgData name="Fabio Tempelmann" userId="40073039d7e0f928" providerId="LiveId" clId="{CC6E55F6-28AA-400B-BA84-189BD921E8AC}" dt="2023-06-23T18:58:26.926" v="1433"/>
          <ac:spMkLst>
            <pc:docMk/>
            <pc:sldMk cId="196490722" sldId="2615"/>
            <ac:spMk id="9" creationId="{C228097E-B9CB-A6CD-D239-65B90B9E7C17}"/>
          </ac:spMkLst>
        </pc:spChg>
        <pc:spChg chg="add mod">
          <ac:chgData name="Fabio Tempelmann" userId="40073039d7e0f928" providerId="LiveId" clId="{CC6E55F6-28AA-400B-BA84-189BD921E8AC}" dt="2023-06-23T18:58:26.926" v="1433"/>
          <ac:spMkLst>
            <pc:docMk/>
            <pc:sldMk cId="196490722" sldId="2615"/>
            <ac:spMk id="10" creationId="{A80E38E2-17F9-0995-0A47-F56FB4165393}"/>
          </ac:spMkLst>
        </pc:spChg>
      </pc:sldChg>
      <pc:sldChg chg="del">
        <pc:chgData name="Fabio Tempelmann" userId="40073039d7e0f928" providerId="LiveId" clId="{CC6E55F6-28AA-400B-BA84-189BD921E8AC}" dt="2023-06-23T18:44:44.296" v="1083" actId="47"/>
        <pc:sldMkLst>
          <pc:docMk/>
          <pc:sldMk cId="550108180" sldId="2616"/>
        </pc:sldMkLst>
      </pc:sldChg>
      <pc:sldChg chg="addSp delSp modSp mod">
        <pc:chgData name="Fabio Tempelmann" userId="40073039d7e0f928" providerId="LiveId" clId="{CC6E55F6-28AA-400B-BA84-189BD921E8AC}" dt="2023-06-23T18:58:17.499" v="1431"/>
        <pc:sldMkLst>
          <pc:docMk/>
          <pc:sldMk cId="1059586728" sldId="2617"/>
        </pc:sldMkLst>
        <pc:spChg chg="mod">
          <ac:chgData name="Fabio Tempelmann" userId="40073039d7e0f928" providerId="LiveId" clId="{CC6E55F6-28AA-400B-BA84-189BD921E8AC}" dt="2023-06-23T18:31:39.953" v="427" actId="12"/>
          <ac:spMkLst>
            <pc:docMk/>
            <pc:sldMk cId="1059586728" sldId="2617"/>
            <ac:spMk id="5" creationId="{3087EC4B-BBAF-662C-D2DD-D010F79769B2}"/>
          </ac:spMkLst>
        </pc:spChg>
        <pc:spChg chg="add del mod">
          <ac:chgData name="Fabio Tempelmann" userId="40073039d7e0f928" providerId="LiveId" clId="{CC6E55F6-28AA-400B-BA84-189BD921E8AC}" dt="2023-06-23T18:58:17.245" v="1430" actId="478"/>
          <ac:spMkLst>
            <pc:docMk/>
            <pc:sldMk cId="1059586728" sldId="2617"/>
            <ac:spMk id="7" creationId="{3AB59482-4C4E-7EA8-1A83-1F1D99F20D00}"/>
          </ac:spMkLst>
        </pc:spChg>
        <pc:spChg chg="add del mod">
          <ac:chgData name="Fabio Tempelmann" userId="40073039d7e0f928" providerId="LiveId" clId="{CC6E55F6-28AA-400B-BA84-189BD921E8AC}" dt="2023-06-23T18:58:17.245" v="1430" actId="478"/>
          <ac:spMkLst>
            <pc:docMk/>
            <pc:sldMk cId="1059586728" sldId="2617"/>
            <ac:spMk id="9" creationId="{AE7AF627-AC25-C263-D307-BB876ABC4D32}"/>
          </ac:spMkLst>
        </pc:spChg>
        <pc:spChg chg="add del mod">
          <ac:chgData name="Fabio Tempelmann" userId="40073039d7e0f928" providerId="LiveId" clId="{CC6E55F6-28AA-400B-BA84-189BD921E8AC}" dt="2023-06-23T18:58:17.245" v="1430" actId="478"/>
          <ac:spMkLst>
            <pc:docMk/>
            <pc:sldMk cId="1059586728" sldId="2617"/>
            <ac:spMk id="10" creationId="{47B14663-62F0-7E91-CF54-1BB4C75849C1}"/>
          </ac:spMkLst>
        </pc:spChg>
        <pc:spChg chg="add mod">
          <ac:chgData name="Fabio Tempelmann" userId="40073039d7e0f928" providerId="LiveId" clId="{CC6E55F6-28AA-400B-BA84-189BD921E8AC}" dt="2023-06-23T18:58:17.499" v="1431"/>
          <ac:spMkLst>
            <pc:docMk/>
            <pc:sldMk cId="1059586728" sldId="2617"/>
            <ac:spMk id="11" creationId="{EF5A8163-6F23-D905-9C4E-49A5310ACD0E}"/>
          </ac:spMkLst>
        </pc:spChg>
        <pc:spChg chg="add mod">
          <ac:chgData name="Fabio Tempelmann" userId="40073039d7e0f928" providerId="LiveId" clId="{CC6E55F6-28AA-400B-BA84-189BD921E8AC}" dt="2023-06-23T18:58:17.499" v="1431"/>
          <ac:spMkLst>
            <pc:docMk/>
            <pc:sldMk cId="1059586728" sldId="2617"/>
            <ac:spMk id="12" creationId="{295BF448-5827-A8EB-09BD-52A641FEEEEE}"/>
          </ac:spMkLst>
        </pc:spChg>
        <pc:spChg chg="add mod">
          <ac:chgData name="Fabio Tempelmann" userId="40073039d7e0f928" providerId="LiveId" clId="{CC6E55F6-28AA-400B-BA84-189BD921E8AC}" dt="2023-06-23T18:58:17.499" v="1431"/>
          <ac:spMkLst>
            <pc:docMk/>
            <pc:sldMk cId="1059586728" sldId="2617"/>
            <ac:spMk id="13" creationId="{70DBF7D8-CAF0-3A95-1DA8-061B14D1E18C}"/>
          </ac:spMkLst>
        </pc:spChg>
        <pc:picChg chg="add del mod">
          <ac:chgData name="Fabio Tempelmann" userId="40073039d7e0f928" providerId="LiveId" clId="{CC6E55F6-28AA-400B-BA84-189BD921E8AC}" dt="2023-06-23T18:29:37.537" v="408" actId="1076"/>
          <ac:picMkLst>
            <pc:docMk/>
            <pc:sldMk cId="1059586728" sldId="2617"/>
            <ac:picMk id="3" creationId="{ACE10A72-D42A-C3F3-8F38-96C204C1951B}"/>
          </ac:picMkLst>
        </pc:picChg>
        <pc:picChg chg="del mod">
          <ac:chgData name="Fabio Tempelmann" userId="40073039d7e0f928" providerId="LiveId" clId="{CC6E55F6-28AA-400B-BA84-189BD921E8AC}" dt="2023-06-23T18:27:09.965" v="299" actId="478"/>
          <ac:picMkLst>
            <pc:docMk/>
            <pc:sldMk cId="1059586728" sldId="2617"/>
            <ac:picMk id="8" creationId="{DDFA32CE-2D6C-2CAF-6905-7BD1408CF5ED}"/>
          </ac:picMkLst>
        </pc:picChg>
      </pc:sldChg>
      <pc:sldChg chg="addSp delSp modSp mod">
        <pc:chgData name="Fabio Tempelmann" userId="40073039d7e0f928" providerId="LiveId" clId="{CC6E55F6-28AA-400B-BA84-189BD921E8AC}" dt="2023-06-23T19:01:35.763" v="1560" actId="20577"/>
        <pc:sldMkLst>
          <pc:docMk/>
          <pc:sldMk cId="487180449" sldId="2618"/>
        </pc:sldMkLst>
        <pc:spChg chg="mod">
          <ac:chgData name="Fabio Tempelmann" userId="40073039d7e0f928" providerId="LiveId" clId="{CC6E55F6-28AA-400B-BA84-189BD921E8AC}" dt="2023-06-23T19:01:35.763" v="1560" actId="20577"/>
          <ac:spMkLst>
            <pc:docMk/>
            <pc:sldMk cId="487180449" sldId="2618"/>
            <ac:spMk id="3" creationId="{CB0BF76C-2A48-F631-4F39-26259F65978E}"/>
          </ac:spMkLst>
        </pc:spChg>
        <pc:spChg chg="del">
          <ac:chgData name="Fabio Tempelmann" userId="40073039d7e0f928" providerId="LiveId" clId="{CC6E55F6-28AA-400B-BA84-189BD921E8AC}" dt="2023-06-23T18:58:31.863" v="1434" actId="478"/>
          <ac:spMkLst>
            <pc:docMk/>
            <pc:sldMk cId="487180449" sldId="2618"/>
            <ac:spMk id="5" creationId="{760E5091-D200-214A-F074-4DE89630579E}"/>
          </ac:spMkLst>
        </pc:spChg>
        <pc:spChg chg="del">
          <ac:chgData name="Fabio Tempelmann" userId="40073039d7e0f928" providerId="LiveId" clId="{CC6E55F6-28AA-400B-BA84-189BD921E8AC}" dt="2023-06-23T18:58:31.863" v="1434" actId="478"/>
          <ac:spMkLst>
            <pc:docMk/>
            <pc:sldMk cId="487180449" sldId="2618"/>
            <ac:spMk id="6" creationId="{50341591-5887-D9E5-B31A-7BA0FEAB4579}"/>
          </ac:spMkLst>
        </pc:spChg>
        <pc:spChg chg="del">
          <ac:chgData name="Fabio Tempelmann" userId="40073039d7e0f928" providerId="LiveId" clId="{CC6E55F6-28AA-400B-BA84-189BD921E8AC}" dt="2023-06-23T18:58:31.863" v="1434" actId="478"/>
          <ac:spMkLst>
            <pc:docMk/>
            <pc:sldMk cId="487180449" sldId="2618"/>
            <ac:spMk id="7" creationId="{F58F4FBA-78FF-0D17-A0FF-2568C1DB6A3E}"/>
          </ac:spMkLst>
        </pc:spChg>
        <pc:spChg chg="add mod">
          <ac:chgData name="Fabio Tempelmann" userId="40073039d7e0f928" providerId="LiveId" clId="{CC6E55F6-28AA-400B-BA84-189BD921E8AC}" dt="2023-06-23T18:58:32.012" v="1435"/>
          <ac:spMkLst>
            <pc:docMk/>
            <pc:sldMk cId="487180449" sldId="2618"/>
            <ac:spMk id="8" creationId="{EDBB01A5-AA20-3A90-C236-A19FDB07371E}"/>
          </ac:spMkLst>
        </pc:spChg>
        <pc:spChg chg="add mod">
          <ac:chgData name="Fabio Tempelmann" userId="40073039d7e0f928" providerId="LiveId" clId="{CC6E55F6-28AA-400B-BA84-189BD921E8AC}" dt="2023-06-23T18:58:32.012" v="1435"/>
          <ac:spMkLst>
            <pc:docMk/>
            <pc:sldMk cId="487180449" sldId="2618"/>
            <ac:spMk id="9" creationId="{305BB36D-BAA4-5595-8255-B358D3487134}"/>
          </ac:spMkLst>
        </pc:spChg>
        <pc:spChg chg="add mod">
          <ac:chgData name="Fabio Tempelmann" userId="40073039d7e0f928" providerId="LiveId" clId="{CC6E55F6-28AA-400B-BA84-189BD921E8AC}" dt="2023-06-23T18:58:32.012" v="1435"/>
          <ac:spMkLst>
            <pc:docMk/>
            <pc:sldMk cId="487180449" sldId="2618"/>
            <ac:spMk id="10" creationId="{699CA7BC-2A5C-E01D-C52E-D78DFBB49DD5}"/>
          </ac:spMkLst>
        </pc:spChg>
      </pc:sldChg>
      <pc:sldChg chg="addSp delSp modSp mod">
        <pc:chgData name="Fabio Tempelmann" userId="40073039d7e0f928" providerId="LiveId" clId="{CC6E55F6-28AA-400B-BA84-189BD921E8AC}" dt="2023-06-23T19:23:31.834" v="2108" actId="20577"/>
        <pc:sldMkLst>
          <pc:docMk/>
          <pc:sldMk cId="4115123568" sldId="2619"/>
        </pc:sldMkLst>
        <pc:spChg chg="mod">
          <ac:chgData name="Fabio Tempelmann" userId="40073039d7e0f928" providerId="LiveId" clId="{CC6E55F6-28AA-400B-BA84-189BD921E8AC}" dt="2023-06-23T19:17:23.186" v="2053" actId="20577"/>
          <ac:spMkLst>
            <pc:docMk/>
            <pc:sldMk cId="4115123568" sldId="2619"/>
            <ac:spMk id="3" creationId="{28BA8E4C-9EA1-8482-05A2-1F4C18AB748C}"/>
          </ac:spMkLst>
        </pc:spChg>
        <pc:spChg chg="mod">
          <ac:chgData name="Fabio Tempelmann" userId="40073039d7e0f928" providerId="LiveId" clId="{CC6E55F6-28AA-400B-BA84-189BD921E8AC}" dt="2023-06-23T19:04:05.054" v="1605" actId="20577"/>
          <ac:spMkLst>
            <pc:docMk/>
            <pc:sldMk cId="4115123568" sldId="2619"/>
            <ac:spMk id="4" creationId="{139A9CEF-F0FE-0009-3753-DB231D76389D}"/>
          </ac:spMkLst>
        </pc:spChg>
        <pc:spChg chg="del">
          <ac:chgData name="Fabio Tempelmann" userId="40073039d7e0f928" providerId="LiveId" clId="{CC6E55F6-28AA-400B-BA84-189BD921E8AC}" dt="2023-06-23T18:58:37.134" v="1436" actId="478"/>
          <ac:spMkLst>
            <pc:docMk/>
            <pc:sldMk cId="4115123568" sldId="2619"/>
            <ac:spMk id="5" creationId="{18BC553F-2052-A61E-A57F-BFBD3263F09C}"/>
          </ac:spMkLst>
        </pc:spChg>
        <pc:spChg chg="del">
          <ac:chgData name="Fabio Tempelmann" userId="40073039d7e0f928" providerId="LiveId" clId="{CC6E55F6-28AA-400B-BA84-189BD921E8AC}" dt="2023-06-23T18:58:37.134" v="1436" actId="478"/>
          <ac:spMkLst>
            <pc:docMk/>
            <pc:sldMk cId="4115123568" sldId="2619"/>
            <ac:spMk id="6" creationId="{6D71EDC4-01B9-4EB4-162E-70627AA1F9D2}"/>
          </ac:spMkLst>
        </pc:spChg>
        <pc:spChg chg="del">
          <ac:chgData name="Fabio Tempelmann" userId="40073039d7e0f928" providerId="LiveId" clId="{CC6E55F6-28AA-400B-BA84-189BD921E8AC}" dt="2023-06-23T18:58:37.134" v="1436" actId="478"/>
          <ac:spMkLst>
            <pc:docMk/>
            <pc:sldMk cId="4115123568" sldId="2619"/>
            <ac:spMk id="7" creationId="{FADA4CCF-1CA8-3925-375B-C9188EA82DE2}"/>
          </ac:spMkLst>
        </pc:spChg>
        <pc:spChg chg="add del mod">
          <ac:chgData name="Fabio Tempelmann" userId="40073039d7e0f928" providerId="LiveId" clId="{CC6E55F6-28AA-400B-BA84-189BD921E8AC}" dt="2023-06-23T18:58:45.404" v="1446"/>
          <ac:spMkLst>
            <pc:docMk/>
            <pc:sldMk cId="4115123568" sldId="2619"/>
            <ac:spMk id="8" creationId="{3393883E-820D-9B8B-FCC2-2109789F1270}"/>
          </ac:spMkLst>
        </pc:spChg>
        <pc:spChg chg="add del mod">
          <ac:chgData name="Fabio Tempelmann" userId="40073039d7e0f928" providerId="LiveId" clId="{CC6E55F6-28AA-400B-BA84-189BD921E8AC}" dt="2023-06-23T18:58:45.404" v="1446"/>
          <ac:spMkLst>
            <pc:docMk/>
            <pc:sldMk cId="4115123568" sldId="2619"/>
            <ac:spMk id="9" creationId="{64709BC2-4B71-FB0C-5D4D-0FF2DC96E059}"/>
          </ac:spMkLst>
        </pc:spChg>
        <pc:spChg chg="add del mod">
          <ac:chgData name="Fabio Tempelmann" userId="40073039d7e0f928" providerId="LiveId" clId="{CC6E55F6-28AA-400B-BA84-189BD921E8AC}" dt="2023-06-23T18:58:45.404" v="1446"/>
          <ac:spMkLst>
            <pc:docMk/>
            <pc:sldMk cId="4115123568" sldId="2619"/>
            <ac:spMk id="10" creationId="{72ADF274-69F2-59A2-E118-D9714E7A5E2F}"/>
          </ac:spMkLst>
        </pc:spChg>
        <pc:spChg chg="add mod">
          <ac:chgData name="Fabio Tempelmann" userId="40073039d7e0f928" providerId="LiveId" clId="{CC6E55F6-28AA-400B-BA84-189BD921E8AC}" dt="2023-06-23T19:23:31.834" v="2108" actId="20577"/>
          <ac:spMkLst>
            <pc:docMk/>
            <pc:sldMk cId="4115123568" sldId="2619"/>
            <ac:spMk id="11" creationId="{10754114-B8B2-5FAB-6224-A482FAE19880}"/>
          </ac:spMkLst>
        </pc:spChg>
      </pc:sldChg>
      <pc:sldChg chg="addSp delSp modSp mod">
        <pc:chgData name="Fabio Tempelmann" userId="40073039d7e0f928" providerId="LiveId" clId="{CC6E55F6-28AA-400B-BA84-189BD921E8AC}" dt="2023-06-23T19:28:10.286" v="2281" actId="20577"/>
        <pc:sldMkLst>
          <pc:docMk/>
          <pc:sldMk cId="2647494161" sldId="2620"/>
        </pc:sldMkLst>
        <pc:spChg chg="mod">
          <ac:chgData name="Fabio Tempelmann" userId="40073039d7e0f928" providerId="LiveId" clId="{CC6E55F6-28AA-400B-BA84-189BD921E8AC}" dt="2023-06-23T19:28:10.286" v="2281" actId="20577"/>
          <ac:spMkLst>
            <pc:docMk/>
            <pc:sldMk cId="2647494161" sldId="2620"/>
            <ac:spMk id="3" creationId="{28BA8E4C-9EA1-8482-05A2-1F4C18AB748C}"/>
          </ac:spMkLst>
        </pc:spChg>
        <pc:spChg chg="mod">
          <ac:chgData name="Fabio Tempelmann" userId="40073039d7e0f928" providerId="LiveId" clId="{CC6E55F6-28AA-400B-BA84-189BD921E8AC}" dt="2023-06-23T19:24:09.632" v="2123" actId="20577"/>
          <ac:spMkLst>
            <pc:docMk/>
            <pc:sldMk cId="2647494161" sldId="2620"/>
            <ac:spMk id="4" creationId="{139A9CEF-F0FE-0009-3753-DB231D76389D}"/>
          </ac:spMkLst>
        </pc:spChg>
        <pc:spChg chg="del">
          <ac:chgData name="Fabio Tempelmann" userId="40073039d7e0f928" providerId="LiveId" clId="{CC6E55F6-28AA-400B-BA84-189BD921E8AC}" dt="2023-06-23T18:58:50.544" v="1447" actId="478"/>
          <ac:spMkLst>
            <pc:docMk/>
            <pc:sldMk cId="2647494161" sldId="2620"/>
            <ac:spMk id="5" creationId="{18BC553F-2052-A61E-A57F-BFBD3263F09C}"/>
          </ac:spMkLst>
        </pc:spChg>
        <pc:spChg chg="del">
          <ac:chgData name="Fabio Tempelmann" userId="40073039d7e0f928" providerId="LiveId" clId="{CC6E55F6-28AA-400B-BA84-189BD921E8AC}" dt="2023-06-23T18:58:50.544" v="1447" actId="478"/>
          <ac:spMkLst>
            <pc:docMk/>
            <pc:sldMk cId="2647494161" sldId="2620"/>
            <ac:spMk id="6" creationId="{6D71EDC4-01B9-4EB4-162E-70627AA1F9D2}"/>
          </ac:spMkLst>
        </pc:spChg>
        <pc:spChg chg="del">
          <ac:chgData name="Fabio Tempelmann" userId="40073039d7e0f928" providerId="LiveId" clId="{CC6E55F6-28AA-400B-BA84-189BD921E8AC}" dt="2023-06-23T18:58:50.544" v="1447" actId="478"/>
          <ac:spMkLst>
            <pc:docMk/>
            <pc:sldMk cId="2647494161" sldId="2620"/>
            <ac:spMk id="7" creationId="{FADA4CCF-1CA8-3925-375B-C9188EA82DE2}"/>
          </ac:spMkLst>
        </pc:spChg>
        <pc:spChg chg="add mod">
          <ac:chgData name="Fabio Tempelmann" userId="40073039d7e0f928" providerId="LiveId" clId="{CC6E55F6-28AA-400B-BA84-189BD921E8AC}" dt="2023-06-23T18:58:50.820" v="1448"/>
          <ac:spMkLst>
            <pc:docMk/>
            <pc:sldMk cId="2647494161" sldId="2620"/>
            <ac:spMk id="8" creationId="{F1C2E278-ABD1-0A2E-D673-C60ED7296319}"/>
          </ac:spMkLst>
        </pc:spChg>
        <pc:spChg chg="add mod">
          <ac:chgData name="Fabio Tempelmann" userId="40073039d7e0f928" providerId="LiveId" clId="{CC6E55F6-28AA-400B-BA84-189BD921E8AC}" dt="2023-06-23T18:58:50.820" v="1448"/>
          <ac:spMkLst>
            <pc:docMk/>
            <pc:sldMk cId="2647494161" sldId="2620"/>
            <ac:spMk id="9" creationId="{0C89D23D-0226-1D7F-7B48-D60EC95278C0}"/>
          </ac:spMkLst>
        </pc:spChg>
        <pc:spChg chg="add mod">
          <ac:chgData name="Fabio Tempelmann" userId="40073039d7e0f928" providerId="LiveId" clId="{CC6E55F6-28AA-400B-BA84-189BD921E8AC}" dt="2023-06-23T18:58:50.820" v="1448"/>
          <ac:spMkLst>
            <pc:docMk/>
            <pc:sldMk cId="2647494161" sldId="2620"/>
            <ac:spMk id="10" creationId="{7639D419-5BF7-C899-049F-0F8E360EB27C}"/>
          </ac:spMkLst>
        </pc:spChg>
      </pc:sldChg>
      <pc:sldChg chg="addSp delSp modSp mod">
        <pc:chgData name="Fabio Tempelmann" userId="40073039d7e0f928" providerId="LiveId" clId="{CC6E55F6-28AA-400B-BA84-189BD921E8AC}" dt="2023-06-23T19:38:36.583" v="2844" actId="20577"/>
        <pc:sldMkLst>
          <pc:docMk/>
          <pc:sldMk cId="2300202071" sldId="2621"/>
        </pc:sldMkLst>
        <pc:spChg chg="mod">
          <ac:chgData name="Fabio Tempelmann" userId="40073039d7e0f928" providerId="LiveId" clId="{CC6E55F6-28AA-400B-BA84-189BD921E8AC}" dt="2023-06-23T19:38:36.583" v="2844" actId="20577"/>
          <ac:spMkLst>
            <pc:docMk/>
            <pc:sldMk cId="2300202071" sldId="2621"/>
            <ac:spMk id="3" creationId="{28BA8E4C-9EA1-8482-05A2-1F4C18AB748C}"/>
          </ac:spMkLst>
        </pc:spChg>
        <pc:spChg chg="mod">
          <ac:chgData name="Fabio Tempelmann" userId="40073039d7e0f928" providerId="LiveId" clId="{CC6E55F6-28AA-400B-BA84-189BD921E8AC}" dt="2023-06-23T19:33:22.601" v="2374" actId="313"/>
          <ac:spMkLst>
            <pc:docMk/>
            <pc:sldMk cId="2300202071" sldId="2621"/>
            <ac:spMk id="4" creationId="{139A9CEF-F0FE-0009-3753-DB231D76389D}"/>
          </ac:spMkLst>
        </pc:spChg>
        <pc:spChg chg="del">
          <ac:chgData name="Fabio Tempelmann" userId="40073039d7e0f928" providerId="LiveId" clId="{CC6E55F6-28AA-400B-BA84-189BD921E8AC}" dt="2023-06-23T18:58:56.547" v="1449" actId="478"/>
          <ac:spMkLst>
            <pc:docMk/>
            <pc:sldMk cId="2300202071" sldId="2621"/>
            <ac:spMk id="5" creationId="{18BC553F-2052-A61E-A57F-BFBD3263F09C}"/>
          </ac:spMkLst>
        </pc:spChg>
        <pc:spChg chg="del">
          <ac:chgData name="Fabio Tempelmann" userId="40073039d7e0f928" providerId="LiveId" clId="{CC6E55F6-28AA-400B-BA84-189BD921E8AC}" dt="2023-06-23T18:58:56.547" v="1449" actId="478"/>
          <ac:spMkLst>
            <pc:docMk/>
            <pc:sldMk cId="2300202071" sldId="2621"/>
            <ac:spMk id="6" creationId="{6D71EDC4-01B9-4EB4-162E-70627AA1F9D2}"/>
          </ac:spMkLst>
        </pc:spChg>
        <pc:spChg chg="del">
          <ac:chgData name="Fabio Tempelmann" userId="40073039d7e0f928" providerId="LiveId" clId="{CC6E55F6-28AA-400B-BA84-189BD921E8AC}" dt="2023-06-23T18:58:56.547" v="1449" actId="478"/>
          <ac:spMkLst>
            <pc:docMk/>
            <pc:sldMk cId="2300202071" sldId="2621"/>
            <ac:spMk id="7" creationId="{FADA4CCF-1CA8-3925-375B-C9188EA82DE2}"/>
          </ac:spMkLst>
        </pc:spChg>
        <pc:spChg chg="add mod">
          <ac:chgData name="Fabio Tempelmann" userId="40073039d7e0f928" providerId="LiveId" clId="{CC6E55F6-28AA-400B-BA84-189BD921E8AC}" dt="2023-06-23T18:58:56.845" v="1450"/>
          <ac:spMkLst>
            <pc:docMk/>
            <pc:sldMk cId="2300202071" sldId="2621"/>
            <ac:spMk id="8" creationId="{69DBEED2-EC02-EE11-4D51-3C032B168F81}"/>
          </ac:spMkLst>
        </pc:spChg>
        <pc:spChg chg="add mod">
          <ac:chgData name="Fabio Tempelmann" userId="40073039d7e0f928" providerId="LiveId" clId="{CC6E55F6-28AA-400B-BA84-189BD921E8AC}" dt="2023-06-23T18:58:56.845" v="1450"/>
          <ac:spMkLst>
            <pc:docMk/>
            <pc:sldMk cId="2300202071" sldId="2621"/>
            <ac:spMk id="9" creationId="{FF9AADE5-D8B0-22A4-19D0-9BD06CEB4AAE}"/>
          </ac:spMkLst>
        </pc:spChg>
        <pc:spChg chg="add mod">
          <ac:chgData name="Fabio Tempelmann" userId="40073039d7e0f928" providerId="LiveId" clId="{CC6E55F6-28AA-400B-BA84-189BD921E8AC}" dt="2023-06-23T18:58:56.845" v="1450"/>
          <ac:spMkLst>
            <pc:docMk/>
            <pc:sldMk cId="2300202071" sldId="2621"/>
            <ac:spMk id="10" creationId="{0CFC6BA9-7184-022E-C553-D099E568264A}"/>
          </ac:spMkLst>
        </pc:spChg>
      </pc:sldChg>
      <pc:sldChg chg="addSp delSp modSp mod">
        <pc:chgData name="Fabio Tempelmann" userId="40073039d7e0f928" providerId="LiveId" clId="{CC6E55F6-28AA-400B-BA84-189BD921E8AC}" dt="2023-06-23T19:46:34.080" v="3186" actId="20577"/>
        <pc:sldMkLst>
          <pc:docMk/>
          <pc:sldMk cId="2507582321" sldId="2622"/>
        </pc:sldMkLst>
        <pc:spChg chg="mod">
          <ac:chgData name="Fabio Tempelmann" userId="40073039d7e0f928" providerId="LiveId" clId="{CC6E55F6-28AA-400B-BA84-189BD921E8AC}" dt="2023-06-23T19:43:10.226" v="3093" actId="20577"/>
          <ac:spMkLst>
            <pc:docMk/>
            <pc:sldMk cId="2507582321" sldId="2622"/>
            <ac:spMk id="3" creationId="{28BA8E4C-9EA1-8482-05A2-1F4C18AB748C}"/>
          </ac:spMkLst>
        </pc:spChg>
        <pc:spChg chg="mod">
          <ac:chgData name="Fabio Tempelmann" userId="40073039d7e0f928" providerId="LiveId" clId="{CC6E55F6-28AA-400B-BA84-189BD921E8AC}" dt="2023-06-23T19:46:34.080" v="3186" actId="20577"/>
          <ac:spMkLst>
            <pc:docMk/>
            <pc:sldMk cId="2507582321" sldId="2622"/>
            <ac:spMk id="4" creationId="{139A9CEF-F0FE-0009-3753-DB231D76389D}"/>
          </ac:spMkLst>
        </pc:spChg>
        <pc:spChg chg="del">
          <ac:chgData name="Fabio Tempelmann" userId="40073039d7e0f928" providerId="LiveId" clId="{CC6E55F6-28AA-400B-BA84-189BD921E8AC}" dt="2023-06-23T18:59:02.636" v="1451" actId="478"/>
          <ac:spMkLst>
            <pc:docMk/>
            <pc:sldMk cId="2507582321" sldId="2622"/>
            <ac:spMk id="5" creationId="{18BC553F-2052-A61E-A57F-BFBD3263F09C}"/>
          </ac:spMkLst>
        </pc:spChg>
        <pc:spChg chg="del">
          <ac:chgData name="Fabio Tempelmann" userId="40073039d7e0f928" providerId="LiveId" clId="{CC6E55F6-28AA-400B-BA84-189BD921E8AC}" dt="2023-06-23T18:59:02.636" v="1451" actId="478"/>
          <ac:spMkLst>
            <pc:docMk/>
            <pc:sldMk cId="2507582321" sldId="2622"/>
            <ac:spMk id="6" creationId="{6D71EDC4-01B9-4EB4-162E-70627AA1F9D2}"/>
          </ac:spMkLst>
        </pc:spChg>
        <pc:spChg chg="del">
          <ac:chgData name="Fabio Tempelmann" userId="40073039d7e0f928" providerId="LiveId" clId="{CC6E55F6-28AA-400B-BA84-189BD921E8AC}" dt="2023-06-23T18:59:02.636" v="1451" actId="478"/>
          <ac:spMkLst>
            <pc:docMk/>
            <pc:sldMk cId="2507582321" sldId="2622"/>
            <ac:spMk id="7" creationId="{FADA4CCF-1CA8-3925-375B-C9188EA82DE2}"/>
          </ac:spMkLst>
        </pc:spChg>
        <pc:spChg chg="add mod">
          <ac:chgData name="Fabio Tempelmann" userId="40073039d7e0f928" providerId="LiveId" clId="{CC6E55F6-28AA-400B-BA84-189BD921E8AC}" dt="2023-06-23T18:59:02.781" v="1452"/>
          <ac:spMkLst>
            <pc:docMk/>
            <pc:sldMk cId="2507582321" sldId="2622"/>
            <ac:spMk id="8" creationId="{1AEF4299-572E-532D-2FF4-D903369A65C5}"/>
          </ac:spMkLst>
        </pc:spChg>
        <pc:spChg chg="add mod">
          <ac:chgData name="Fabio Tempelmann" userId="40073039d7e0f928" providerId="LiveId" clId="{CC6E55F6-28AA-400B-BA84-189BD921E8AC}" dt="2023-06-23T18:59:02.781" v="1452"/>
          <ac:spMkLst>
            <pc:docMk/>
            <pc:sldMk cId="2507582321" sldId="2622"/>
            <ac:spMk id="9" creationId="{8B21EF69-F6F3-DD80-B1E3-23ABA391C64E}"/>
          </ac:spMkLst>
        </pc:spChg>
        <pc:spChg chg="add mod">
          <ac:chgData name="Fabio Tempelmann" userId="40073039d7e0f928" providerId="LiveId" clId="{CC6E55F6-28AA-400B-BA84-189BD921E8AC}" dt="2023-06-23T18:59:02.781" v="1452"/>
          <ac:spMkLst>
            <pc:docMk/>
            <pc:sldMk cId="2507582321" sldId="2622"/>
            <ac:spMk id="10" creationId="{F733C2F6-4E30-7173-501D-FB991B79F843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3" creationId="{1AC15AFC-EFD5-F6BC-E89D-692AC25D9CB9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4" creationId="{AFFC4E7F-3964-8551-A35C-DE38DE639964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5" creationId="{1D22FDE4-0045-6F2F-960B-E1FF1086F175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6" creationId="{35D41407-E0B7-E30D-9E26-7184CF76548F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7" creationId="{13B59F24-39E5-F8D3-C4BD-D402E27F128B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8" creationId="{D90E6435-7AC3-A6CC-76F2-F3FD74F70AE8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9" creationId="{10B30AF6-5D54-0C39-A022-01D503BE9139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20" creationId="{84673A96-D953-7CD1-7290-C6AEF2C70409}"/>
          </ac:spMkLst>
        </pc:spChg>
        <pc:spChg chg="add del mod">
          <ac:chgData name="Fabio Tempelmann" userId="40073039d7e0f928" providerId="LiveId" clId="{CC6E55F6-28AA-400B-BA84-189BD921E8AC}" dt="2023-06-23T19:45:02.132" v="3111" actId="21"/>
          <ac:spMkLst>
            <pc:docMk/>
            <pc:sldMk cId="2507582321" sldId="2622"/>
            <ac:spMk id="21" creationId="{C17A4C76-9F91-5F5C-0BDE-E0FC2B3DF10C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3" creationId="{91E05F47-038E-8F81-D9D8-DCA5EACB4EB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4" creationId="{2EB26715-13A3-F9A5-5F3D-263E92899399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5" creationId="{2DDC9B9F-D5D8-52F4-0C36-254F4BBB427B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6" creationId="{668BCACC-3BB4-F643-4B9C-C8D9DB2B3FE8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7" creationId="{21AF4B0E-D2B9-76D9-A73A-4C29BA3DBAA3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8" creationId="{5C2E4A48-49E9-3F19-9011-9C0A47A21DF8}"/>
          </ac:spMkLst>
        </pc:spChg>
        <pc:spChg chg="add del mod">
          <ac:chgData name="Fabio Tempelmann" userId="40073039d7e0f928" providerId="LiveId" clId="{CC6E55F6-28AA-400B-BA84-189BD921E8AC}" dt="2023-06-23T19:45:02.132" v="3111" actId="21"/>
          <ac:spMkLst>
            <pc:docMk/>
            <pc:sldMk cId="2507582321" sldId="2622"/>
            <ac:spMk id="29" creationId="{94924ACB-5EB0-2ACB-1057-9877C272D98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2" creationId="{3BBDF1BE-21A6-2E2D-2858-A0FE98FA9078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3" creationId="{BFC81C0A-A5BE-9BBF-3A3B-452DDA58BEAF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4" creationId="{1C4A4675-ADFF-2B31-06BB-D537E976B6CF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5" creationId="{79E9198C-5197-7305-B50D-45C922830AA4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6" creationId="{BCE87631-FE8D-047F-DB9B-4A48331552A0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7" creationId="{BF3403CF-BAA5-BFEA-141D-82B2D74186CD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9" creationId="{B95737DC-E926-62F5-9E15-4A9E7AEB5BA0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0" creationId="{C22C8F0D-452E-2D01-74FD-CCFBA83467BE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1" creationId="{3036DB59-6476-400E-F457-D7FBDAE551AB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2" creationId="{67EE9B43-0045-A510-0DB1-9A8DB229EFC2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3" creationId="{6BA8E63F-E7B8-20D8-6F4D-A8E201F4648F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4" creationId="{C34D7CB3-16F1-AAA9-8F37-5EAF5009BE54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7" creationId="{92D8D722-D678-1183-9F36-EAD5B12446AA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8" creationId="{66B96D70-33E7-A5CB-A696-3452D5E98A5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9" creationId="{01C4BB5C-65FF-C721-BC8C-5530287CF172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0" creationId="{0C0D986B-2481-AE24-95E3-174E46E25224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1" creationId="{4566901A-5F95-DEDB-9ACD-1674FE7B1049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2" creationId="{B30C78E3-36F3-E852-7A79-7E952F7B8F8B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5" creationId="{F0FF2D36-78F0-C8E5-0F58-3352A4E15E2C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6" creationId="{C3D92256-8321-1125-85BE-7931EB2B1CFC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7" creationId="{951D250E-ECBC-B2A5-F4E3-6E1C39B0F45A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8" creationId="{79FA1259-EA63-F0CE-31E1-3C0FDF74DD40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9" creationId="{77C914F0-ED91-3190-817F-5CA40442693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0" creationId="{26B7CC35-1AF3-7500-C589-19CC839CBBB9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2" creationId="{183AE8BC-97BC-55AF-DAFF-E0339B24CE03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3" creationId="{92552B73-D855-C984-EDEC-A70AC654566D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4" creationId="{505F8424-A3E4-717D-4278-9676D15424F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5" creationId="{DDF81237-64A4-57DC-0990-78057ED6E2F8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6" creationId="{B5E9E291-0C39-C707-1030-1A537EA7D129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7" creationId="{01FBF05F-2621-28D5-AAD2-9721C1A23242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1" creationId="{53572C1E-B8BF-ED82-116C-D0991CAC4FAF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2" creationId="{8B666EFD-DE65-43CC-CE25-03E8C2712776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3" creationId="{CAA3ECC0-B8A4-E8B3-5F59-539A19647844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4" creationId="{78F77DD1-6D64-C8E9-EBCA-03897A427C8C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5" creationId="{6ED14C5D-59E4-68F1-C027-2C1F29B637E3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6" creationId="{59E8E5C8-0F1E-AD7E-4C79-1DBE6461AE6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9" creationId="{C883C3C9-5E25-3D25-2AD2-DFF980EF0249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80" creationId="{F270C23D-8A1B-2760-3E2E-1FCD962DEC2E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81" creationId="{6E4DAF96-E446-E8BA-D249-DFF34CEF6FAC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82" creationId="{3CAB97F6-C113-4648-2352-5EF8882E5FF2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83" creationId="{8A39999C-5BE6-0731-6FEA-CE25E604FE3F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84" creationId="{54492EBF-AA3D-10D5-9555-FB0812A21F07}"/>
          </ac:spMkLst>
        </pc:s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22" creationId="{54BF0A7A-946C-FB83-5FE1-4CBFFA11095B}"/>
          </ac:grpSpMkLst>
        </pc:gr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31" creationId="{025D3899-6738-25E4-D3A9-E108EB622FBA}"/>
          </ac:grpSpMkLst>
        </pc:gr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38" creationId="{177E5D3E-F832-BADA-D64D-C3007CC38FEC}"/>
          </ac:grpSpMkLst>
        </pc:gr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46" creationId="{6414E3C0-1EB7-9543-CACA-420486639B3D}"/>
          </ac:grpSpMkLst>
        </pc:gr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54" creationId="{A088C667-03C6-163E-8730-05C03050B883}"/>
          </ac:grpSpMkLst>
        </pc:gr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61" creationId="{880DE945-0C6A-49ED-1CDD-39676DE5BDEA}"/>
          </ac:grpSpMkLst>
        </pc:grpChg>
        <pc:grpChg chg="add del mod">
          <ac:chgData name="Fabio Tempelmann" userId="40073039d7e0f928" providerId="LiveId" clId="{CC6E55F6-28AA-400B-BA84-189BD921E8AC}" dt="2023-06-23T19:45:02.132" v="3111" actId="21"/>
          <ac:grpSpMkLst>
            <pc:docMk/>
            <pc:sldMk cId="2507582321" sldId="2622"/>
            <ac:grpSpMk id="70" creationId="{C7B267B8-9DD3-F80E-59BD-943CF5922EDC}"/>
          </ac:grpSpMkLst>
        </pc:grpChg>
        <pc:grpChg chg="add del mod">
          <ac:chgData name="Fabio Tempelmann" userId="40073039d7e0f928" providerId="LiveId" clId="{CC6E55F6-28AA-400B-BA84-189BD921E8AC}" dt="2023-06-23T19:45:02.132" v="3111" actId="21"/>
          <ac:grpSpMkLst>
            <pc:docMk/>
            <pc:sldMk cId="2507582321" sldId="2622"/>
            <ac:grpSpMk id="78" creationId="{F35CDEF9-540A-9D74-6CFF-375CFCBFE696}"/>
          </ac:grpSpMkLst>
        </pc:grpChg>
        <pc:grpChg chg="add del mod">
          <ac:chgData name="Fabio Tempelmann" userId="40073039d7e0f928" providerId="LiveId" clId="{CC6E55F6-28AA-400B-BA84-189BD921E8AC}" dt="2023-06-23T19:44:46.201" v="3108" actId="164"/>
          <ac:grpSpMkLst>
            <pc:docMk/>
            <pc:sldMk cId="2507582321" sldId="2622"/>
            <ac:grpSpMk id="85" creationId="{4CD5273E-AF0E-A53F-57E1-519C91E7030A}"/>
          </ac:grpSpMkLst>
        </pc:grpChg>
        <pc:picChg chg="add del">
          <ac:chgData name="Fabio Tempelmann" userId="40073039d7e0f928" providerId="LiveId" clId="{CC6E55F6-28AA-400B-BA84-189BD921E8AC}" dt="2023-06-23T19:43:39.890" v="3095" actId="22"/>
          <ac:picMkLst>
            <pc:docMk/>
            <pc:sldMk cId="2507582321" sldId="2622"/>
            <ac:picMk id="12" creationId="{C4A85D57-23CF-B558-8162-5BFB78536B7A}"/>
          </ac:picMkLst>
        </pc:picChg>
        <pc:picChg chg="add del mod">
          <ac:chgData name="Fabio Tempelmann" userId="40073039d7e0f928" providerId="LiveId" clId="{CC6E55F6-28AA-400B-BA84-189BD921E8AC}" dt="2023-06-23T19:44:40.649" v="3106"/>
          <ac:picMkLst>
            <pc:docMk/>
            <pc:sldMk cId="2507582321" sldId="2622"/>
            <ac:picMk id="86" creationId="{513F286F-2EFA-B522-112D-3DB02A1B778B}"/>
          </ac:picMkLst>
        </pc:picChg>
        <pc:picChg chg="add mod">
          <ac:chgData name="Fabio Tempelmann" userId="40073039d7e0f928" providerId="LiveId" clId="{CC6E55F6-28AA-400B-BA84-189BD921E8AC}" dt="2023-06-23T19:45:35.381" v="3157" actId="1037"/>
          <ac:picMkLst>
            <pc:docMk/>
            <pc:sldMk cId="2507582321" sldId="2622"/>
            <ac:picMk id="87" creationId="{D8900807-1640-FB32-F324-2EAE464B419A}"/>
          </ac:picMkLst>
        </pc:picChg>
        <pc:picChg chg="add mod">
          <ac:chgData name="Fabio Tempelmann" userId="40073039d7e0f928" providerId="LiveId" clId="{CC6E55F6-28AA-400B-BA84-189BD921E8AC}" dt="2023-06-23T19:45:38.688" v="3158" actId="1076"/>
          <ac:picMkLst>
            <pc:docMk/>
            <pc:sldMk cId="2507582321" sldId="2622"/>
            <ac:picMk id="88" creationId="{9C6A3300-5F98-B249-49E5-AD5C108D40DA}"/>
          </ac:picMkLst>
        </pc:picChg>
        <pc:cxnChg chg="add del mod">
          <ac:chgData name="Fabio Tempelmann" userId="40073039d7e0f928" providerId="LiveId" clId="{CC6E55F6-28AA-400B-BA84-189BD921E8AC}" dt="2023-06-23T19:44:55.173" v="3109" actId="21"/>
          <ac:cxnSpMkLst>
            <pc:docMk/>
            <pc:sldMk cId="2507582321" sldId="2622"/>
            <ac:cxnSpMk id="30" creationId="{5B4C37F3-4E2C-4272-329E-634148250A43}"/>
          </ac:cxnSpMkLst>
        </pc:cxnChg>
        <pc:cxnChg chg="add del mod">
          <ac:chgData name="Fabio Tempelmann" userId="40073039d7e0f928" providerId="LiveId" clId="{CC6E55F6-28AA-400B-BA84-189BD921E8AC}" dt="2023-06-23T19:44:55.173" v="3109" actId="21"/>
          <ac:cxnSpMkLst>
            <pc:docMk/>
            <pc:sldMk cId="2507582321" sldId="2622"/>
            <ac:cxnSpMk id="45" creationId="{722A732F-78FC-3133-61F3-C3A80F30FBDD}"/>
          </ac:cxnSpMkLst>
        </pc:cxnChg>
        <pc:cxnChg chg="add del mod">
          <ac:chgData name="Fabio Tempelmann" userId="40073039d7e0f928" providerId="LiveId" clId="{CC6E55F6-28AA-400B-BA84-189BD921E8AC}" dt="2023-06-23T19:44:55.173" v="3109" actId="21"/>
          <ac:cxnSpMkLst>
            <pc:docMk/>
            <pc:sldMk cId="2507582321" sldId="2622"/>
            <ac:cxnSpMk id="53" creationId="{D3A258A5-064D-CA6B-DDEA-903B2D51D4EA}"/>
          </ac:cxnSpMkLst>
        </pc:cxnChg>
        <pc:cxnChg chg="add del mod">
          <ac:chgData name="Fabio Tempelmann" userId="40073039d7e0f928" providerId="LiveId" clId="{CC6E55F6-28AA-400B-BA84-189BD921E8AC}" dt="2023-06-23T19:44:55.173" v="3109" actId="21"/>
          <ac:cxnSpMkLst>
            <pc:docMk/>
            <pc:sldMk cId="2507582321" sldId="2622"/>
            <ac:cxnSpMk id="68" creationId="{97C67CC5-0B31-4F44-F9B3-C59435E022A6}"/>
          </ac:cxnSpMkLst>
        </pc:cxnChg>
        <pc:cxnChg chg="add del mod">
          <ac:chgData name="Fabio Tempelmann" userId="40073039d7e0f928" providerId="LiveId" clId="{CC6E55F6-28AA-400B-BA84-189BD921E8AC}" dt="2023-06-23T19:44:55.173" v="3109" actId="21"/>
          <ac:cxnSpMkLst>
            <pc:docMk/>
            <pc:sldMk cId="2507582321" sldId="2622"/>
            <ac:cxnSpMk id="69" creationId="{2FA8ACC7-B4CC-AF29-5F9D-6ED3D52E34DD}"/>
          </ac:cxnSpMkLst>
        </pc:cxnChg>
        <pc:cxnChg chg="add del mod">
          <ac:chgData name="Fabio Tempelmann" userId="40073039d7e0f928" providerId="LiveId" clId="{CC6E55F6-28AA-400B-BA84-189BD921E8AC}" dt="2023-06-23T19:45:02.132" v="3111" actId="21"/>
          <ac:cxnSpMkLst>
            <pc:docMk/>
            <pc:sldMk cId="2507582321" sldId="2622"/>
            <ac:cxnSpMk id="77" creationId="{6A1A6B65-C338-8332-0790-3F249415EAC1}"/>
          </ac:cxnSpMkLst>
        </pc:cxnChg>
      </pc:sldChg>
      <pc:sldChg chg="addSp delSp modSp mod">
        <pc:chgData name="Fabio Tempelmann" userId="40073039d7e0f928" providerId="LiveId" clId="{CC6E55F6-28AA-400B-BA84-189BD921E8AC}" dt="2023-06-23T20:13:28.567" v="4145" actId="12"/>
        <pc:sldMkLst>
          <pc:docMk/>
          <pc:sldMk cId="933334753" sldId="2623"/>
        </pc:sldMkLst>
        <pc:spChg chg="mod">
          <ac:chgData name="Fabio Tempelmann" userId="40073039d7e0f928" providerId="LiveId" clId="{CC6E55F6-28AA-400B-BA84-189BD921E8AC}" dt="2023-06-23T20:13:28.567" v="4145" actId="12"/>
          <ac:spMkLst>
            <pc:docMk/>
            <pc:sldMk cId="933334753" sldId="2623"/>
            <ac:spMk id="3" creationId="{28BA8E4C-9EA1-8482-05A2-1F4C18AB748C}"/>
          </ac:spMkLst>
        </pc:spChg>
        <pc:spChg chg="mod">
          <ac:chgData name="Fabio Tempelmann" userId="40073039d7e0f928" providerId="LiveId" clId="{CC6E55F6-28AA-400B-BA84-189BD921E8AC}" dt="2023-06-23T20:03:34.484" v="3194" actId="20577"/>
          <ac:spMkLst>
            <pc:docMk/>
            <pc:sldMk cId="933334753" sldId="2623"/>
            <ac:spMk id="4" creationId="{139A9CEF-F0FE-0009-3753-DB231D76389D}"/>
          </ac:spMkLst>
        </pc:spChg>
        <pc:spChg chg="del">
          <ac:chgData name="Fabio Tempelmann" userId="40073039d7e0f928" providerId="LiveId" clId="{CC6E55F6-28AA-400B-BA84-189BD921E8AC}" dt="2023-06-23T18:59:09.972" v="1453" actId="478"/>
          <ac:spMkLst>
            <pc:docMk/>
            <pc:sldMk cId="933334753" sldId="2623"/>
            <ac:spMk id="5" creationId="{18BC553F-2052-A61E-A57F-BFBD3263F09C}"/>
          </ac:spMkLst>
        </pc:spChg>
        <pc:spChg chg="del">
          <ac:chgData name="Fabio Tempelmann" userId="40073039d7e0f928" providerId="LiveId" clId="{CC6E55F6-28AA-400B-BA84-189BD921E8AC}" dt="2023-06-23T18:59:09.972" v="1453" actId="478"/>
          <ac:spMkLst>
            <pc:docMk/>
            <pc:sldMk cId="933334753" sldId="2623"/>
            <ac:spMk id="6" creationId="{6D71EDC4-01B9-4EB4-162E-70627AA1F9D2}"/>
          </ac:spMkLst>
        </pc:spChg>
        <pc:spChg chg="del">
          <ac:chgData name="Fabio Tempelmann" userId="40073039d7e0f928" providerId="LiveId" clId="{CC6E55F6-28AA-400B-BA84-189BD921E8AC}" dt="2023-06-23T18:59:09.972" v="1453" actId="478"/>
          <ac:spMkLst>
            <pc:docMk/>
            <pc:sldMk cId="933334753" sldId="2623"/>
            <ac:spMk id="7" creationId="{FADA4CCF-1CA8-3925-375B-C9188EA82DE2}"/>
          </ac:spMkLst>
        </pc:spChg>
        <pc:spChg chg="add mod">
          <ac:chgData name="Fabio Tempelmann" userId="40073039d7e0f928" providerId="LiveId" clId="{CC6E55F6-28AA-400B-BA84-189BD921E8AC}" dt="2023-06-23T18:59:10.110" v="1454"/>
          <ac:spMkLst>
            <pc:docMk/>
            <pc:sldMk cId="933334753" sldId="2623"/>
            <ac:spMk id="8" creationId="{077FCB1A-6277-F7E6-83DE-80ECD423DF30}"/>
          </ac:spMkLst>
        </pc:spChg>
        <pc:spChg chg="add mod">
          <ac:chgData name="Fabio Tempelmann" userId="40073039d7e0f928" providerId="LiveId" clId="{CC6E55F6-28AA-400B-BA84-189BD921E8AC}" dt="2023-06-23T18:59:10.110" v="1454"/>
          <ac:spMkLst>
            <pc:docMk/>
            <pc:sldMk cId="933334753" sldId="2623"/>
            <ac:spMk id="9" creationId="{555A583C-52CD-5F8F-CBF0-FB3804551B8B}"/>
          </ac:spMkLst>
        </pc:spChg>
        <pc:spChg chg="add mod">
          <ac:chgData name="Fabio Tempelmann" userId="40073039d7e0f928" providerId="LiveId" clId="{CC6E55F6-28AA-400B-BA84-189BD921E8AC}" dt="2023-06-23T18:59:10.110" v="1454"/>
          <ac:spMkLst>
            <pc:docMk/>
            <pc:sldMk cId="933334753" sldId="2623"/>
            <ac:spMk id="10" creationId="{AC958CEE-3FE2-90C7-F200-84F9F2D8910C}"/>
          </ac:spMkLst>
        </pc:spChg>
        <pc:picChg chg="add mod">
          <ac:chgData name="Fabio Tempelmann" userId="40073039d7e0f928" providerId="LiveId" clId="{CC6E55F6-28AA-400B-BA84-189BD921E8AC}" dt="2023-06-23T20:13:07.535" v="4143" actId="1076"/>
          <ac:picMkLst>
            <pc:docMk/>
            <pc:sldMk cId="933334753" sldId="2623"/>
            <ac:picMk id="12" creationId="{57CE9C3B-C547-EE92-37DA-26956344D502}"/>
          </ac:picMkLst>
        </pc:picChg>
      </pc:sldChg>
      <pc:sldChg chg="addSp delSp modSp mod">
        <pc:chgData name="Fabio Tempelmann" userId="40073039d7e0f928" providerId="LiveId" clId="{CC6E55F6-28AA-400B-BA84-189BD921E8AC}" dt="2023-06-23T20:28:19.166" v="4589" actId="313"/>
        <pc:sldMkLst>
          <pc:docMk/>
          <pc:sldMk cId="2543157886" sldId="2624"/>
        </pc:sldMkLst>
        <pc:spChg chg="mod">
          <ac:chgData name="Fabio Tempelmann" userId="40073039d7e0f928" providerId="LiveId" clId="{CC6E55F6-28AA-400B-BA84-189BD921E8AC}" dt="2023-06-23T20:24:24.660" v="4492"/>
          <ac:spMkLst>
            <pc:docMk/>
            <pc:sldMk cId="2543157886" sldId="2624"/>
            <ac:spMk id="2" creationId="{99E52CC8-821D-EC3A-B6A3-86A93EDAC758}"/>
          </ac:spMkLst>
        </pc:spChg>
        <pc:spChg chg="mod">
          <ac:chgData name="Fabio Tempelmann" userId="40073039d7e0f928" providerId="LiveId" clId="{CC6E55F6-28AA-400B-BA84-189BD921E8AC}" dt="2023-06-23T20:28:19.166" v="4589" actId="313"/>
          <ac:spMkLst>
            <pc:docMk/>
            <pc:sldMk cId="2543157886" sldId="2624"/>
            <ac:spMk id="3" creationId="{716FB6D6-FEEF-9BE3-1A32-F3A63AAC62F0}"/>
          </ac:spMkLst>
        </pc:spChg>
        <pc:spChg chg="del mod">
          <ac:chgData name="Fabio Tempelmann" userId="40073039d7e0f928" providerId="LiveId" clId="{CC6E55F6-28AA-400B-BA84-189BD921E8AC}" dt="2023-06-23T20:14:41.844" v="4150" actId="478"/>
          <ac:spMkLst>
            <pc:docMk/>
            <pc:sldMk cId="2543157886" sldId="2624"/>
            <ac:spMk id="4" creationId="{0418BF81-0F16-BC0C-7F60-47167BC7375C}"/>
          </ac:spMkLst>
        </pc:spChg>
        <pc:spChg chg="del">
          <ac:chgData name="Fabio Tempelmann" userId="40073039d7e0f928" providerId="LiveId" clId="{CC6E55F6-28AA-400B-BA84-189BD921E8AC}" dt="2023-06-23T18:59:18.919" v="1455" actId="478"/>
          <ac:spMkLst>
            <pc:docMk/>
            <pc:sldMk cId="2543157886" sldId="2624"/>
            <ac:spMk id="5" creationId="{EF58C406-F019-3E52-18EC-A39F8FDD5B00}"/>
          </ac:spMkLst>
        </pc:spChg>
        <pc:spChg chg="del">
          <ac:chgData name="Fabio Tempelmann" userId="40073039d7e0f928" providerId="LiveId" clId="{CC6E55F6-28AA-400B-BA84-189BD921E8AC}" dt="2023-06-23T18:59:18.919" v="1455" actId="478"/>
          <ac:spMkLst>
            <pc:docMk/>
            <pc:sldMk cId="2543157886" sldId="2624"/>
            <ac:spMk id="6" creationId="{10B073DC-FFDB-717F-3702-E0BC5EFD0FD7}"/>
          </ac:spMkLst>
        </pc:spChg>
        <pc:spChg chg="del">
          <ac:chgData name="Fabio Tempelmann" userId="40073039d7e0f928" providerId="LiveId" clId="{CC6E55F6-28AA-400B-BA84-189BD921E8AC}" dt="2023-06-23T18:59:18.919" v="1455" actId="478"/>
          <ac:spMkLst>
            <pc:docMk/>
            <pc:sldMk cId="2543157886" sldId="2624"/>
            <ac:spMk id="7" creationId="{03272E6B-F9FE-DB08-7866-C65B6B114519}"/>
          </ac:spMkLst>
        </pc:spChg>
        <pc:spChg chg="add mod">
          <ac:chgData name="Fabio Tempelmann" userId="40073039d7e0f928" providerId="LiveId" clId="{CC6E55F6-28AA-400B-BA84-189BD921E8AC}" dt="2023-06-23T18:59:19.070" v="1456"/>
          <ac:spMkLst>
            <pc:docMk/>
            <pc:sldMk cId="2543157886" sldId="2624"/>
            <ac:spMk id="8" creationId="{DBB255D4-A8F6-F643-2FD6-94348CADEA8D}"/>
          </ac:spMkLst>
        </pc:spChg>
        <pc:spChg chg="add mod">
          <ac:chgData name="Fabio Tempelmann" userId="40073039d7e0f928" providerId="LiveId" clId="{CC6E55F6-28AA-400B-BA84-189BD921E8AC}" dt="2023-06-23T18:59:19.070" v="1456"/>
          <ac:spMkLst>
            <pc:docMk/>
            <pc:sldMk cId="2543157886" sldId="2624"/>
            <ac:spMk id="9" creationId="{6B10120B-BDDB-8C88-4484-A647FA4DFCE3}"/>
          </ac:spMkLst>
        </pc:spChg>
        <pc:spChg chg="add mod">
          <ac:chgData name="Fabio Tempelmann" userId="40073039d7e0f928" providerId="LiveId" clId="{CC6E55F6-28AA-400B-BA84-189BD921E8AC}" dt="2023-06-23T18:59:19.070" v="1456"/>
          <ac:spMkLst>
            <pc:docMk/>
            <pc:sldMk cId="2543157886" sldId="2624"/>
            <ac:spMk id="10" creationId="{3545AA14-EEBB-6B42-A45C-0AF64D2763AD}"/>
          </ac:spMkLst>
        </pc:spChg>
        <pc:spChg chg="add mod">
          <ac:chgData name="Fabio Tempelmann" userId="40073039d7e0f928" providerId="LiveId" clId="{CC6E55F6-28AA-400B-BA84-189BD921E8AC}" dt="2023-06-23T20:24:50.282" v="4498"/>
          <ac:spMkLst>
            <pc:docMk/>
            <pc:sldMk cId="2543157886" sldId="2624"/>
            <ac:spMk id="13" creationId="{9066495B-20FB-78EA-50AB-024CBE24FEE8}"/>
          </ac:spMkLst>
        </pc:spChg>
        <pc:picChg chg="add mod">
          <ac:chgData name="Fabio Tempelmann" userId="40073039d7e0f928" providerId="LiveId" clId="{CC6E55F6-28AA-400B-BA84-189BD921E8AC}" dt="2023-06-23T20:21:45.317" v="4469" actId="1076"/>
          <ac:picMkLst>
            <pc:docMk/>
            <pc:sldMk cId="2543157886" sldId="2624"/>
            <ac:picMk id="12" creationId="{86DACA29-36A0-AA7B-9D9C-5CC81050E746}"/>
          </ac:picMkLst>
        </pc:picChg>
      </pc:sldChg>
      <pc:sldChg chg="addSp delSp modSp mod ord">
        <pc:chgData name="Fabio Tempelmann" userId="40073039d7e0f928" providerId="LiveId" clId="{CC6E55F6-28AA-400B-BA84-189BD921E8AC}" dt="2023-06-23T20:28:38.966" v="4643" actId="20577"/>
        <pc:sldMkLst>
          <pc:docMk/>
          <pc:sldMk cId="2792704478" sldId="2625"/>
        </pc:sldMkLst>
        <pc:spChg chg="mod">
          <ac:chgData name="Fabio Tempelmann" userId="40073039d7e0f928" providerId="LiveId" clId="{CC6E55F6-28AA-400B-BA84-189BD921E8AC}" dt="2023-06-23T20:25:38.195" v="4522" actId="20577"/>
          <ac:spMkLst>
            <pc:docMk/>
            <pc:sldMk cId="2792704478" sldId="2625"/>
            <ac:spMk id="2" creationId="{6AD2CD9E-14CD-2E0A-3ECE-4A1BEB4D5E39}"/>
          </ac:spMkLst>
        </pc:spChg>
        <pc:spChg chg="mod">
          <ac:chgData name="Fabio Tempelmann" userId="40073039d7e0f928" providerId="LiveId" clId="{CC6E55F6-28AA-400B-BA84-189BD921E8AC}" dt="2023-06-23T20:28:38.966" v="4643" actId="20577"/>
          <ac:spMkLst>
            <pc:docMk/>
            <pc:sldMk cId="2792704478" sldId="2625"/>
            <ac:spMk id="3" creationId="{952775A6-6BA8-3F1F-2C6C-FC05C822CD38}"/>
          </ac:spMkLst>
        </pc:spChg>
        <pc:spChg chg="mod">
          <ac:chgData name="Fabio Tempelmann" userId="40073039d7e0f928" providerId="LiveId" clId="{CC6E55F6-28AA-400B-BA84-189BD921E8AC}" dt="2023-06-23T20:23:30.620" v="4476"/>
          <ac:spMkLst>
            <pc:docMk/>
            <pc:sldMk cId="2792704478" sldId="2625"/>
            <ac:spMk id="4" creationId="{C2B13DDA-A8D7-3083-67B8-DD97E127A6C2}"/>
          </ac:spMkLst>
        </pc:spChg>
        <pc:spChg chg="del">
          <ac:chgData name="Fabio Tempelmann" userId="40073039d7e0f928" providerId="LiveId" clId="{CC6E55F6-28AA-400B-BA84-189BD921E8AC}" dt="2023-06-23T18:59:24.756" v="1457" actId="478"/>
          <ac:spMkLst>
            <pc:docMk/>
            <pc:sldMk cId="2792704478" sldId="2625"/>
            <ac:spMk id="5" creationId="{888FC113-2A80-FD2D-07E0-79A0C664C0F2}"/>
          </ac:spMkLst>
        </pc:spChg>
        <pc:spChg chg="del">
          <ac:chgData name="Fabio Tempelmann" userId="40073039d7e0f928" providerId="LiveId" clId="{CC6E55F6-28AA-400B-BA84-189BD921E8AC}" dt="2023-06-23T18:59:24.756" v="1457" actId="478"/>
          <ac:spMkLst>
            <pc:docMk/>
            <pc:sldMk cId="2792704478" sldId="2625"/>
            <ac:spMk id="6" creationId="{DE07303D-C5FC-43D8-84EC-9C573AE47D5E}"/>
          </ac:spMkLst>
        </pc:spChg>
        <pc:spChg chg="del">
          <ac:chgData name="Fabio Tempelmann" userId="40073039d7e0f928" providerId="LiveId" clId="{CC6E55F6-28AA-400B-BA84-189BD921E8AC}" dt="2023-06-23T18:59:24.756" v="1457" actId="478"/>
          <ac:spMkLst>
            <pc:docMk/>
            <pc:sldMk cId="2792704478" sldId="2625"/>
            <ac:spMk id="7" creationId="{268BEB67-512F-21A7-D9E9-E34ED81C52FB}"/>
          </ac:spMkLst>
        </pc:spChg>
        <pc:spChg chg="add mod">
          <ac:chgData name="Fabio Tempelmann" userId="40073039d7e0f928" providerId="LiveId" clId="{CC6E55F6-28AA-400B-BA84-189BD921E8AC}" dt="2023-06-23T18:59:24.902" v="1458"/>
          <ac:spMkLst>
            <pc:docMk/>
            <pc:sldMk cId="2792704478" sldId="2625"/>
            <ac:spMk id="8" creationId="{12688AED-8C70-E787-7DDF-2DFD053CD435}"/>
          </ac:spMkLst>
        </pc:spChg>
        <pc:spChg chg="add mod">
          <ac:chgData name="Fabio Tempelmann" userId="40073039d7e0f928" providerId="LiveId" clId="{CC6E55F6-28AA-400B-BA84-189BD921E8AC}" dt="2023-06-23T18:59:24.902" v="1458"/>
          <ac:spMkLst>
            <pc:docMk/>
            <pc:sldMk cId="2792704478" sldId="2625"/>
            <ac:spMk id="9" creationId="{BA430BC0-C14A-1F6C-BB11-0E0192F8D3A0}"/>
          </ac:spMkLst>
        </pc:spChg>
        <pc:spChg chg="add mod">
          <ac:chgData name="Fabio Tempelmann" userId="40073039d7e0f928" providerId="LiveId" clId="{CC6E55F6-28AA-400B-BA84-189BD921E8AC}" dt="2023-06-23T18:59:24.902" v="1458"/>
          <ac:spMkLst>
            <pc:docMk/>
            <pc:sldMk cId="2792704478" sldId="2625"/>
            <ac:spMk id="10" creationId="{DC38D880-3D1B-A3A5-90F2-6E130AFDD399}"/>
          </ac:spMkLst>
        </pc:spChg>
      </pc:sldChg>
      <pc:sldChg chg="addSp delSp modSp mod">
        <pc:chgData name="Fabio Tempelmann" userId="40073039d7e0f928" providerId="LiveId" clId="{CC6E55F6-28AA-400B-BA84-189BD921E8AC}" dt="2023-06-23T20:29:05.174" v="4645" actId="20577"/>
        <pc:sldMkLst>
          <pc:docMk/>
          <pc:sldMk cId="2066850630" sldId="2626"/>
        </pc:sldMkLst>
        <pc:spChg chg="mod">
          <ac:chgData name="Fabio Tempelmann" userId="40073039d7e0f928" providerId="LiveId" clId="{CC6E55F6-28AA-400B-BA84-189BD921E8AC}" dt="2023-06-23T20:29:05.174" v="4645" actId="20577"/>
          <ac:spMkLst>
            <pc:docMk/>
            <pc:sldMk cId="2066850630" sldId="2626"/>
            <ac:spMk id="3" creationId="{2AFA8BFB-70C1-1E29-E033-D6708F5E9B6C}"/>
          </ac:spMkLst>
        </pc:spChg>
        <pc:spChg chg="del">
          <ac:chgData name="Fabio Tempelmann" userId="40073039d7e0f928" providerId="LiveId" clId="{CC6E55F6-28AA-400B-BA84-189BD921E8AC}" dt="2023-06-23T18:59:30.642" v="1459" actId="478"/>
          <ac:spMkLst>
            <pc:docMk/>
            <pc:sldMk cId="2066850630" sldId="2626"/>
            <ac:spMk id="5" creationId="{0465B513-318F-703A-FDF9-F43EEC1DE6B9}"/>
          </ac:spMkLst>
        </pc:spChg>
        <pc:spChg chg="del">
          <ac:chgData name="Fabio Tempelmann" userId="40073039d7e0f928" providerId="LiveId" clId="{CC6E55F6-28AA-400B-BA84-189BD921E8AC}" dt="2023-06-23T18:59:30.642" v="1459" actId="478"/>
          <ac:spMkLst>
            <pc:docMk/>
            <pc:sldMk cId="2066850630" sldId="2626"/>
            <ac:spMk id="6" creationId="{7829DDF4-B3F0-B0C0-4519-D058E0D1338E}"/>
          </ac:spMkLst>
        </pc:spChg>
        <pc:spChg chg="del">
          <ac:chgData name="Fabio Tempelmann" userId="40073039d7e0f928" providerId="LiveId" clId="{CC6E55F6-28AA-400B-BA84-189BD921E8AC}" dt="2023-06-23T18:59:30.642" v="1459" actId="478"/>
          <ac:spMkLst>
            <pc:docMk/>
            <pc:sldMk cId="2066850630" sldId="2626"/>
            <ac:spMk id="7" creationId="{7273966D-5746-F646-36BB-EC249450B886}"/>
          </ac:spMkLst>
        </pc:spChg>
        <pc:spChg chg="add mod">
          <ac:chgData name="Fabio Tempelmann" userId="40073039d7e0f928" providerId="LiveId" clId="{CC6E55F6-28AA-400B-BA84-189BD921E8AC}" dt="2023-06-23T18:59:30.760" v="1460"/>
          <ac:spMkLst>
            <pc:docMk/>
            <pc:sldMk cId="2066850630" sldId="2626"/>
            <ac:spMk id="8" creationId="{D95F6E8E-9717-82F9-9E51-880E31613E91}"/>
          </ac:spMkLst>
        </pc:spChg>
        <pc:spChg chg="add mod">
          <ac:chgData name="Fabio Tempelmann" userId="40073039d7e0f928" providerId="LiveId" clId="{CC6E55F6-28AA-400B-BA84-189BD921E8AC}" dt="2023-06-23T18:59:30.760" v="1460"/>
          <ac:spMkLst>
            <pc:docMk/>
            <pc:sldMk cId="2066850630" sldId="2626"/>
            <ac:spMk id="9" creationId="{4DF2EC91-67CB-6E8F-2091-722BCEFC44B8}"/>
          </ac:spMkLst>
        </pc:spChg>
        <pc:spChg chg="add mod">
          <ac:chgData name="Fabio Tempelmann" userId="40073039d7e0f928" providerId="LiveId" clId="{CC6E55F6-28AA-400B-BA84-189BD921E8AC}" dt="2023-06-23T18:59:30.760" v="1460"/>
          <ac:spMkLst>
            <pc:docMk/>
            <pc:sldMk cId="2066850630" sldId="2626"/>
            <ac:spMk id="10" creationId="{9642EDFB-AD25-9A61-26BC-C6E99D76602C}"/>
          </ac:spMkLst>
        </pc:spChg>
      </pc:sldChg>
      <pc:sldChg chg="new del">
        <pc:chgData name="Fabio Tempelmann" userId="40073039d7e0f928" providerId="LiveId" clId="{CC6E55F6-28AA-400B-BA84-189BD921E8AC}" dt="2023-06-23T18:58:05.721" v="1429" actId="47"/>
        <pc:sldMkLst>
          <pc:docMk/>
          <pc:sldMk cId="356071738" sldId="2627"/>
        </pc:sldMkLst>
      </pc:sldChg>
      <pc:sldChg chg="new del">
        <pc:chgData name="Fabio Tempelmann" userId="40073039d7e0f928" providerId="LiveId" clId="{CC6E55F6-28AA-400B-BA84-189BD921E8AC}" dt="2023-06-23T18:57:08.613" v="1425" actId="47"/>
        <pc:sldMkLst>
          <pc:docMk/>
          <pc:sldMk cId="2252437050" sldId="2627"/>
        </pc:sldMkLst>
      </pc:sldChg>
      <pc:sldChg chg="new del">
        <pc:chgData name="Fabio Tempelmann" userId="40073039d7e0f928" providerId="LiveId" clId="{CC6E55F6-28AA-400B-BA84-189BD921E8AC}" dt="2023-06-23T18:56:05.033" v="1420" actId="47"/>
        <pc:sldMkLst>
          <pc:docMk/>
          <pc:sldMk cId="2839369568" sldId="2627"/>
        </pc:sldMkLst>
      </pc:sldChg>
      <pc:sldChg chg="modSp new mod">
        <pc:chgData name="Fabio Tempelmann" userId="40073039d7e0f928" providerId="LiveId" clId="{CC6E55F6-28AA-400B-BA84-189BD921E8AC}" dt="2023-06-23T20:53:47.722" v="4980" actId="20577"/>
        <pc:sldMkLst>
          <pc:docMk/>
          <pc:sldMk cId="3214409637" sldId="2627"/>
        </pc:sldMkLst>
        <pc:spChg chg="mod">
          <ac:chgData name="Fabio Tempelmann" userId="40073039d7e0f928" providerId="LiveId" clId="{CC6E55F6-28AA-400B-BA84-189BD921E8AC}" dt="2023-06-23T20:31:03.792" v="4667" actId="20577"/>
          <ac:spMkLst>
            <pc:docMk/>
            <pc:sldMk cId="3214409637" sldId="2627"/>
            <ac:spMk id="2" creationId="{530275ED-2F03-884F-B1E4-BDF54594F46D}"/>
          </ac:spMkLst>
        </pc:spChg>
        <pc:spChg chg="mod">
          <ac:chgData name="Fabio Tempelmann" userId="40073039d7e0f928" providerId="LiveId" clId="{CC6E55F6-28AA-400B-BA84-189BD921E8AC}" dt="2023-06-23T20:53:47.722" v="4980" actId="20577"/>
          <ac:spMkLst>
            <pc:docMk/>
            <pc:sldMk cId="3214409637" sldId="2627"/>
            <ac:spMk id="3" creationId="{018B4BB0-9A59-BC16-84FF-1110C5C97766}"/>
          </ac:spMkLst>
        </pc:spChg>
      </pc:sldChg>
      <pc:sldChg chg="modSp new mod">
        <pc:chgData name="Fabio Tempelmann" userId="40073039d7e0f928" providerId="LiveId" clId="{CC6E55F6-28AA-400B-BA84-189BD921E8AC}" dt="2023-06-23T20:54:30.626" v="4981"/>
        <pc:sldMkLst>
          <pc:docMk/>
          <pc:sldMk cId="2796266219" sldId="2628"/>
        </pc:sldMkLst>
        <pc:spChg chg="mod">
          <ac:chgData name="Fabio Tempelmann" userId="40073039d7e0f928" providerId="LiveId" clId="{CC6E55F6-28AA-400B-BA84-189BD921E8AC}" dt="2023-06-23T20:54:30.626" v="4981"/>
          <ac:spMkLst>
            <pc:docMk/>
            <pc:sldMk cId="2796266219" sldId="2628"/>
            <ac:spMk id="3" creationId="{6F64FA42-FE78-27EC-0385-342482F0FD99}"/>
          </ac:spMkLst>
        </pc:spChg>
      </pc:sldChg>
      <pc:sldChg chg="modSp new mod">
        <pc:chgData name="Fabio Tempelmann" userId="40073039d7e0f928" providerId="LiveId" clId="{CC6E55F6-28AA-400B-BA84-189BD921E8AC}" dt="2023-06-23T20:54:57.312" v="4982"/>
        <pc:sldMkLst>
          <pc:docMk/>
          <pc:sldMk cId="757730859" sldId="2629"/>
        </pc:sldMkLst>
        <pc:spChg chg="mod">
          <ac:chgData name="Fabio Tempelmann" userId="40073039d7e0f928" providerId="LiveId" clId="{CC6E55F6-28AA-400B-BA84-189BD921E8AC}" dt="2023-06-23T20:54:57.312" v="4982"/>
          <ac:spMkLst>
            <pc:docMk/>
            <pc:sldMk cId="757730859" sldId="2629"/>
            <ac:spMk id="3" creationId="{5F67973C-AD49-B2CD-4085-E4CE4174BD02}"/>
          </ac:spMkLst>
        </pc:spChg>
      </pc:sldChg>
      <pc:sldMasterChg chg="modSp mod modSldLayout">
        <pc:chgData name="Fabio Tempelmann" userId="40073039d7e0f928" providerId="LiveId" clId="{CC6E55F6-28AA-400B-BA84-189BD921E8AC}" dt="2023-06-23T18:57:54.304" v="1427"/>
        <pc:sldMasterMkLst>
          <pc:docMk/>
          <pc:sldMasterMk cId="902298323" sldId="2147483648"/>
        </pc:sldMasterMkLst>
        <pc:spChg chg="mod">
          <ac:chgData name="Fabio Tempelmann" userId="40073039d7e0f928" providerId="LiveId" clId="{CC6E55F6-28AA-400B-BA84-189BD921E8AC}" dt="2023-06-23T18:54:38.129" v="1418" actId="20577"/>
          <ac:spMkLst>
            <pc:docMk/>
            <pc:sldMasterMk cId="902298323" sldId="2147483648"/>
            <ac:spMk id="4" creationId="{CC50694B-33D5-45A5-B9F0-605F670D5E36}"/>
          </ac:spMkLst>
        </pc:spChg>
        <pc:spChg chg="mod">
          <ac:chgData name="Fabio Tempelmann" userId="40073039d7e0f928" providerId="LiveId" clId="{CC6E55F6-28AA-400B-BA84-189BD921E8AC}" dt="2023-06-23T18:56:47.181" v="1423" actId="20577"/>
          <ac:spMkLst>
            <pc:docMk/>
            <pc:sldMasterMk cId="902298323" sldId="2147483648"/>
            <ac:spMk id="5" creationId="{407C29D3-2D73-4F49-B56E-D32513508EAD}"/>
          </ac:spMkLst>
        </pc:spChg>
        <pc:sldLayoutChg chg="addSp delSp modSp mod">
          <pc:chgData name="Fabio Tempelmann" userId="40073039d7e0f928" providerId="LiveId" clId="{CC6E55F6-28AA-400B-BA84-189BD921E8AC}" dt="2023-06-23T18:57:54.304" v="1427"/>
          <pc:sldLayoutMkLst>
            <pc:docMk/>
            <pc:sldMasterMk cId="902298323" sldId="2147483648"/>
            <pc:sldLayoutMk cId="3435457391" sldId="2147483650"/>
          </pc:sldLayoutMkLst>
          <pc:spChg chg="add mod">
            <ac:chgData name="Fabio Tempelmann" userId="40073039d7e0f928" providerId="LiveId" clId="{CC6E55F6-28AA-400B-BA84-189BD921E8AC}" dt="2023-06-23T18:57:54.304" v="1427"/>
            <ac:spMkLst>
              <pc:docMk/>
              <pc:sldMasterMk cId="902298323" sldId="2147483648"/>
              <pc:sldLayoutMk cId="3435457391" sldId="2147483650"/>
              <ac:spMk id="4" creationId="{88C6A7E3-61A0-F19A-B67A-B9796FFA6445}"/>
            </ac:spMkLst>
          </pc:spChg>
          <pc:spChg chg="add mod">
            <ac:chgData name="Fabio Tempelmann" userId="40073039d7e0f928" providerId="LiveId" clId="{CC6E55F6-28AA-400B-BA84-189BD921E8AC}" dt="2023-06-23T18:57:54.304" v="1427"/>
            <ac:spMkLst>
              <pc:docMk/>
              <pc:sldMasterMk cId="902298323" sldId="2147483648"/>
              <pc:sldLayoutMk cId="3435457391" sldId="2147483650"/>
              <ac:spMk id="5" creationId="{ACAE5B8C-402C-92B2-CD33-E91ABD8DEB75}"/>
            </ac:spMkLst>
          </pc:spChg>
          <pc:spChg chg="add mod">
            <ac:chgData name="Fabio Tempelmann" userId="40073039d7e0f928" providerId="LiveId" clId="{CC6E55F6-28AA-400B-BA84-189BD921E8AC}" dt="2023-06-23T18:57:54.304" v="1427"/>
            <ac:spMkLst>
              <pc:docMk/>
              <pc:sldMasterMk cId="902298323" sldId="2147483648"/>
              <pc:sldLayoutMk cId="3435457391" sldId="2147483650"/>
              <ac:spMk id="6" creationId="{44D7BA60-8252-3223-6DEB-6ADCCE496ED5}"/>
            </ac:spMkLst>
          </pc:spChg>
          <pc:spChg chg="del mod">
            <ac:chgData name="Fabio Tempelmann" userId="40073039d7e0f928" providerId="LiveId" clId="{CC6E55F6-28AA-400B-BA84-189BD921E8AC}" dt="2023-06-23T18:57:54.041" v="1426" actId="478"/>
            <ac:spMkLst>
              <pc:docMk/>
              <pc:sldMasterMk cId="902298323" sldId="2147483648"/>
              <pc:sldLayoutMk cId="3435457391" sldId="2147483650"/>
              <ac:spMk id="8" creationId="{7E09A1A4-66FB-4BBF-B3D3-82C3A7E41C09}"/>
            </ac:spMkLst>
          </pc:spChg>
          <pc:spChg chg="del mod">
            <ac:chgData name="Fabio Tempelmann" userId="40073039d7e0f928" providerId="LiveId" clId="{CC6E55F6-28AA-400B-BA84-189BD921E8AC}" dt="2023-06-23T18:57:54.041" v="1426" actId="478"/>
            <ac:spMkLst>
              <pc:docMk/>
              <pc:sldMasterMk cId="902298323" sldId="2147483648"/>
              <pc:sldLayoutMk cId="3435457391" sldId="2147483650"/>
              <ac:spMk id="9" creationId="{F94D21F0-0C2D-40CB-B9DB-55864772B0A8}"/>
            </ac:spMkLst>
          </pc:spChg>
          <pc:spChg chg="del">
            <ac:chgData name="Fabio Tempelmann" userId="40073039d7e0f928" providerId="LiveId" clId="{CC6E55F6-28AA-400B-BA84-189BD921E8AC}" dt="2023-06-23T18:57:54.041" v="1426" actId="478"/>
            <ac:spMkLst>
              <pc:docMk/>
              <pc:sldMasterMk cId="902298323" sldId="2147483648"/>
              <pc:sldLayoutMk cId="3435457391" sldId="2147483650"/>
              <ac:spMk id="10" creationId="{ECC5A95F-83E3-4397-B18C-8F3003F1CEB4}"/>
            </ac:spMkLst>
          </pc:spChg>
        </pc:sldLayoutChg>
      </pc:sldMasterChg>
    </pc:docChg>
  </pc:docChgLst>
  <pc:docChgLst>
    <pc:chgData name="Fabio Tempelmann" userId="40073039d7e0f928" providerId="LiveId" clId="{F665C50D-975B-4C8E-9D25-6510691D53D9}"/>
    <pc:docChg chg="undo redo custSel addSld delSld modSld modMainMaster modSection">
      <pc:chgData name="Fabio Tempelmann" userId="40073039d7e0f928" providerId="LiveId" clId="{F665C50D-975B-4C8E-9D25-6510691D53D9}" dt="2023-06-23T22:12:58.336" v="2969" actId="12"/>
      <pc:docMkLst>
        <pc:docMk/>
      </pc:docMkLst>
      <pc:sldChg chg="delSp modSp mod">
        <pc:chgData name="Fabio Tempelmann" userId="40073039d7e0f928" providerId="LiveId" clId="{F665C50D-975B-4C8E-9D25-6510691D53D9}" dt="2023-06-23T21:08:00.155" v="338" actId="1035"/>
        <pc:sldMkLst>
          <pc:docMk/>
          <pc:sldMk cId="1465900182" sldId="399"/>
        </pc:sldMkLst>
        <pc:spChg chg="mod">
          <ac:chgData name="Fabio Tempelmann" userId="40073039d7e0f928" providerId="LiveId" clId="{F665C50D-975B-4C8E-9D25-6510691D53D9}" dt="2023-06-23T21:07:42.519" v="326" actId="20577"/>
          <ac:spMkLst>
            <pc:docMk/>
            <pc:sldMk cId="1465900182" sldId="399"/>
            <ac:spMk id="30" creationId="{ED093444-DE53-4E37-8555-A53A8282CB80}"/>
          </ac:spMkLst>
        </pc:spChg>
        <pc:spChg chg="mod">
          <ac:chgData name="Fabio Tempelmann" userId="40073039d7e0f928" providerId="LiveId" clId="{F665C50D-975B-4C8E-9D25-6510691D53D9}" dt="2023-06-23T21:08:00.155" v="338" actId="1035"/>
          <ac:spMkLst>
            <pc:docMk/>
            <pc:sldMk cId="1465900182" sldId="399"/>
            <ac:spMk id="31" creationId="{792BDCAC-2CEC-4E04-B0A9-42B42D4DD194}"/>
          </ac:spMkLst>
        </pc:spChg>
        <pc:spChg chg="del">
          <ac:chgData name="Fabio Tempelmann" userId="40073039d7e0f928" providerId="LiveId" clId="{F665C50D-975B-4C8E-9D25-6510691D53D9}" dt="2023-06-23T21:06:53.917" v="310" actId="478"/>
          <ac:spMkLst>
            <pc:docMk/>
            <pc:sldMk cId="1465900182" sldId="399"/>
            <ac:spMk id="42" creationId="{634FD05E-3DBD-430F-AFF6-A48045383759}"/>
          </ac:spMkLst>
        </pc:spChg>
        <pc:picChg chg="del">
          <ac:chgData name="Fabio Tempelmann" userId="40073039d7e0f928" providerId="LiveId" clId="{F665C50D-975B-4C8E-9D25-6510691D53D9}" dt="2023-06-23T21:06:52.561" v="308" actId="478"/>
          <ac:picMkLst>
            <pc:docMk/>
            <pc:sldMk cId="1465900182" sldId="399"/>
            <ac:picMk id="44" creationId="{C61EF7CE-F25C-4021-B051-0CDD572E1493}"/>
          </ac:picMkLst>
        </pc:picChg>
        <pc:picChg chg="del">
          <ac:chgData name="Fabio Tempelmann" userId="40073039d7e0f928" providerId="LiveId" clId="{F665C50D-975B-4C8E-9D25-6510691D53D9}" dt="2023-06-23T21:06:53.242" v="309" actId="478"/>
          <ac:picMkLst>
            <pc:docMk/>
            <pc:sldMk cId="1465900182" sldId="399"/>
            <ac:picMk id="46" creationId="{7327E868-E10D-4BD2-BCC6-2D4151306377}"/>
          </ac:picMkLst>
        </pc:picChg>
      </pc:sldChg>
      <pc:sldChg chg="addSp delSp modSp mod">
        <pc:chgData name="Fabio Tempelmann" userId="40073039d7e0f928" providerId="LiveId" clId="{F665C50D-975B-4C8E-9D25-6510691D53D9}" dt="2023-06-23T21:06:25.496" v="289" actId="20577"/>
        <pc:sldMkLst>
          <pc:docMk/>
          <pc:sldMk cId="4020575135" sldId="456"/>
        </pc:sldMkLst>
        <pc:spChg chg="add del mod">
          <ac:chgData name="Fabio Tempelmann" userId="40073039d7e0f928" providerId="LiveId" clId="{F665C50D-975B-4C8E-9D25-6510691D53D9}" dt="2023-06-23T21:06:23.274" v="288" actId="478"/>
          <ac:spMkLst>
            <pc:docMk/>
            <pc:sldMk cId="4020575135" sldId="456"/>
            <ac:spMk id="3" creationId="{F1961339-FD87-2E62-1DE9-EE580C11F603}"/>
          </ac:spMkLst>
        </pc:spChg>
        <pc:spChg chg="mod">
          <ac:chgData name="Fabio Tempelmann" userId="40073039d7e0f928" providerId="LiveId" clId="{F665C50D-975B-4C8E-9D25-6510691D53D9}" dt="2023-06-23T21:06:25.496" v="289" actId="20577"/>
          <ac:spMkLst>
            <pc:docMk/>
            <pc:sldMk cId="4020575135" sldId="456"/>
            <ac:spMk id="4" creationId="{528F2F2B-1AF0-4022-A37C-76E287C8E19A}"/>
          </ac:spMkLst>
        </pc:spChg>
        <pc:spChg chg="del">
          <ac:chgData name="Fabio Tempelmann" userId="40073039d7e0f928" providerId="LiveId" clId="{F665C50D-975B-4C8E-9D25-6510691D53D9}" dt="2023-06-23T21:04:56.488" v="234" actId="478"/>
          <ac:spMkLst>
            <pc:docMk/>
            <pc:sldMk cId="4020575135" sldId="456"/>
            <ac:spMk id="49" creationId="{3571AA3C-89FC-4CE6-8A9A-48FC39BAC597}"/>
          </ac:spMkLst>
        </pc:spChg>
        <pc:picChg chg="del">
          <ac:chgData name="Fabio Tempelmann" userId="40073039d7e0f928" providerId="LiveId" clId="{F665C50D-975B-4C8E-9D25-6510691D53D9}" dt="2023-06-23T21:06:21.562" v="287" actId="478"/>
          <ac:picMkLst>
            <pc:docMk/>
            <pc:sldMk cId="4020575135" sldId="456"/>
            <ac:picMk id="17" creationId="{40BA2B4F-E79A-4B30-B099-12C1E9A4F3C0}"/>
          </ac:picMkLst>
        </pc:picChg>
      </pc:sldChg>
      <pc:sldChg chg="del">
        <pc:chgData name="Fabio Tempelmann" userId="40073039d7e0f928" providerId="LiveId" clId="{F665C50D-975B-4C8E-9D25-6510691D53D9}" dt="2023-06-23T21:08:08.426" v="339" actId="47"/>
        <pc:sldMkLst>
          <pc:docMk/>
          <pc:sldMk cId="655539086" sldId="2598"/>
        </pc:sldMkLst>
      </pc:sldChg>
      <pc:sldChg chg="addSp delSp modSp mod">
        <pc:chgData name="Fabio Tempelmann" userId="40073039d7e0f928" providerId="LiveId" clId="{F665C50D-975B-4C8E-9D25-6510691D53D9}" dt="2023-06-23T21:08:24.631" v="347" actId="478"/>
        <pc:sldMkLst>
          <pc:docMk/>
          <pc:sldMk cId="3988927373" sldId="2607"/>
        </pc:sldMkLst>
        <pc:spChg chg="mod">
          <ac:chgData name="Fabio Tempelmann" userId="40073039d7e0f928" providerId="LiveId" clId="{F665C50D-975B-4C8E-9D25-6510691D53D9}" dt="2023-06-23T21:03:32.721" v="191" actId="20577"/>
          <ac:spMkLst>
            <pc:docMk/>
            <pc:sldMk cId="3988927373" sldId="2607"/>
            <ac:spMk id="3" creationId="{6C7966F0-C6CF-B0A4-A352-73068BD25128}"/>
          </ac:spMkLst>
        </pc:spChg>
        <pc:spChg chg="mod">
          <ac:chgData name="Fabio Tempelmann" userId="40073039d7e0f928" providerId="LiveId" clId="{F665C50D-975B-4C8E-9D25-6510691D53D9}" dt="2023-06-23T14:29:43.290" v="117" actId="313"/>
          <ac:spMkLst>
            <pc:docMk/>
            <pc:sldMk cId="3988927373" sldId="2607"/>
            <ac:spMk id="6" creationId="{E3E27A5B-619E-4463-886D-6CA74148F945}"/>
          </ac:spMkLst>
        </pc:spChg>
        <pc:spChg chg="del">
          <ac:chgData name="Fabio Tempelmann" userId="40073039d7e0f928" providerId="LiveId" clId="{F665C50D-975B-4C8E-9D25-6510691D53D9}" dt="2023-06-23T21:08:17.787" v="340" actId="478"/>
          <ac:spMkLst>
            <pc:docMk/>
            <pc:sldMk cId="3988927373" sldId="2607"/>
            <ac:spMk id="17" creationId="{32483089-B731-41B1-B93D-A2C5776BDD5C}"/>
          </ac:spMkLst>
        </pc:spChg>
        <pc:spChg chg="del">
          <ac:chgData name="Fabio Tempelmann" userId="40073039d7e0f928" providerId="LiveId" clId="{F665C50D-975B-4C8E-9D25-6510691D53D9}" dt="2023-06-23T21:08:19.614" v="341" actId="478"/>
          <ac:spMkLst>
            <pc:docMk/>
            <pc:sldMk cId="3988927373" sldId="2607"/>
            <ac:spMk id="18" creationId="{FBBC61C7-2C81-4ED4-87E9-4824CE45A606}"/>
          </ac:spMkLst>
        </pc:spChg>
        <pc:spChg chg="del">
          <ac:chgData name="Fabio Tempelmann" userId="40073039d7e0f928" providerId="LiveId" clId="{F665C50D-975B-4C8E-9D25-6510691D53D9}" dt="2023-06-23T21:08:17.787" v="340" actId="478"/>
          <ac:spMkLst>
            <pc:docMk/>
            <pc:sldMk cId="3988927373" sldId="2607"/>
            <ac:spMk id="19" creationId="{850CC9D5-96CC-4580-8393-950FD558EB76}"/>
          </ac:spMkLst>
        </pc:spChg>
        <pc:spChg chg="del mod">
          <ac:chgData name="Fabio Tempelmann" userId="40073039d7e0f928" providerId="LiveId" clId="{F665C50D-975B-4C8E-9D25-6510691D53D9}" dt="2023-06-23T21:08:21.436" v="343" actId="478"/>
          <ac:spMkLst>
            <pc:docMk/>
            <pc:sldMk cId="3988927373" sldId="2607"/>
            <ac:spMk id="20" creationId="{7441F932-2F80-407D-AE34-4D9F1ECDF5DA}"/>
          </ac:spMkLst>
        </pc:spChg>
        <pc:spChg chg="add del mod">
          <ac:chgData name="Fabio Tempelmann" userId="40073039d7e0f928" providerId="LiveId" clId="{F665C50D-975B-4C8E-9D25-6510691D53D9}" dt="2023-06-23T21:08:24.011" v="346" actId="478"/>
          <ac:spMkLst>
            <pc:docMk/>
            <pc:sldMk cId="3988927373" sldId="2607"/>
            <ac:spMk id="26" creationId="{642C4EE5-DC47-1593-E7CF-822CB58247C6}"/>
          </ac:spMkLst>
        </pc:spChg>
        <pc:spChg chg="add del mod">
          <ac:chgData name="Fabio Tempelmann" userId="40073039d7e0f928" providerId="LiveId" clId="{F665C50D-975B-4C8E-9D25-6510691D53D9}" dt="2023-06-23T21:08:24.631" v="347" actId="478"/>
          <ac:spMkLst>
            <pc:docMk/>
            <pc:sldMk cId="3988927373" sldId="2607"/>
            <ac:spMk id="28" creationId="{593B8B19-DB90-758E-9929-42C9F74F0A56}"/>
          </ac:spMkLst>
        </pc:spChg>
        <pc:spChg chg="add del mod">
          <ac:chgData name="Fabio Tempelmann" userId="40073039d7e0f928" providerId="LiveId" clId="{F665C50D-975B-4C8E-9D25-6510691D53D9}" dt="2023-06-23T21:08:22.362" v="344" actId="478"/>
          <ac:spMkLst>
            <pc:docMk/>
            <pc:sldMk cId="3988927373" sldId="2607"/>
            <ac:spMk id="30" creationId="{BE91A03F-437E-B693-F593-28ECBD91AEDC}"/>
          </ac:spMkLst>
        </pc:spChg>
        <pc:spChg chg="add del mod">
          <ac:chgData name="Fabio Tempelmann" userId="40073039d7e0f928" providerId="LiveId" clId="{F665C50D-975B-4C8E-9D25-6510691D53D9}" dt="2023-06-23T21:08:23.206" v="345" actId="478"/>
          <ac:spMkLst>
            <pc:docMk/>
            <pc:sldMk cId="3988927373" sldId="2607"/>
            <ac:spMk id="32" creationId="{49356C71-5B52-C1A5-4589-C16E73DFF32E}"/>
          </ac:spMkLst>
        </pc:spChg>
      </pc:sldChg>
      <pc:sldChg chg="modSp mod">
        <pc:chgData name="Fabio Tempelmann" userId="40073039d7e0f928" providerId="LiveId" clId="{F665C50D-975B-4C8E-9D25-6510691D53D9}" dt="2023-06-23T21:14:44.334" v="357" actId="20577"/>
        <pc:sldMkLst>
          <pc:docMk/>
          <pc:sldMk cId="961803506" sldId="2608"/>
        </pc:sldMkLst>
        <pc:spChg chg="mod">
          <ac:chgData name="Fabio Tempelmann" userId="40073039d7e0f928" providerId="LiveId" clId="{F665C50D-975B-4C8E-9D25-6510691D53D9}" dt="2023-06-23T21:14:44.334" v="357" actId="20577"/>
          <ac:spMkLst>
            <pc:docMk/>
            <pc:sldMk cId="961803506" sldId="2608"/>
            <ac:spMk id="3" creationId="{12156906-2296-10E3-F3BA-C39806F976DF}"/>
          </ac:spMkLst>
        </pc:spChg>
      </pc:sldChg>
      <pc:sldChg chg="modSp mod">
        <pc:chgData name="Fabio Tempelmann" userId="40073039d7e0f928" providerId="LiveId" clId="{F665C50D-975B-4C8E-9D25-6510691D53D9}" dt="2023-06-23T21:53:20.995" v="1943"/>
        <pc:sldMkLst>
          <pc:docMk/>
          <pc:sldMk cId="2803143295" sldId="2609"/>
        </pc:sldMkLst>
        <pc:spChg chg="mod">
          <ac:chgData name="Fabio Tempelmann" userId="40073039d7e0f928" providerId="LiveId" clId="{F665C50D-975B-4C8E-9D25-6510691D53D9}" dt="2023-06-23T21:53:20.995" v="1943"/>
          <ac:spMkLst>
            <pc:docMk/>
            <pc:sldMk cId="2803143295" sldId="2609"/>
            <ac:spMk id="3" creationId="{58E65F78-3698-5F0C-62B2-21803B8EDCA1}"/>
          </ac:spMkLst>
        </pc:spChg>
      </pc:sldChg>
      <pc:sldChg chg="modSp mod">
        <pc:chgData name="Fabio Tempelmann" userId="40073039d7e0f928" providerId="LiveId" clId="{F665C50D-975B-4C8E-9D25-6510691D53D9}" dt="2023-06-23T21:53:20.659" v="1942"/>
        <pc:sldMkLst>
          <pc:docMk/>
          <pc:sldMk cId="1573672962" sldId="2610"/>
        </pc:sldMkLst>
        <pc:spChg chg="mod">
          <ac:chgData name="Fabio Tempelmann" userId="40073039d7e0f928" providerId="LiveId" clId="{F665C50D-975B-4C8E-9D25-6510691D53D9}" dt="2023-06-23T21:53:20.659" v="1942"/>
          <ac:spMkLst>
            <pc:docMk/>
            <pc:sldMk cId="1573672962" sldId="2610"/>
            <ac:spMk id="3" creationId="{A24743D5-EEE9-2030-036C-56BAD670C718}"/>
          </ac:spMkLst>
        </pc:spChg>
      </pc:sldChg>
      <pc:sldChg chg="modSp mod">
        <pc:chgData name="Fabio Tempelmann" userId="40073039d7e0f928" providerId="LiveId" clId="{F665C50D-975B-4C8E-9D25-6510691D53D9}" dt="2023-06-23T06:10:50.273" v="14"/>
        <pc:sldMkLst>
          <pc:docMk/>
          <pc:sldMk cId="81604581" sldId="2612"/>
        </pc:sldMkLst>
        <pc:spChg chg="mod">
          <ac:chgData name="Fabio Tempelmann" userId="40073039d7e0f928" providerId="LiveId" clId="{F665C50D-975B-4C8E-9D25-6510691D53D9}" dt="2023-06-23T06:10:50.273" v="14"/>
          <ac:spMkLst>
            <pc:docMk/>
            <pc:sldMk cId="81604581" sldId="2612"/>
            <ac:spMk id="3" creationId="{C59B53F4-D47F-C4EF-0239-CEDECD8F33C3}"/>
          </ac:spMkLst>
        </pc:spChg>
      </pc:sldChg>
      <pc:sldChg chg="modSp mod">
        <pc:chgData name="Fabio Tempelmann" userId="40073039d7e0f928" providerId="LiveId" clId="{F665C50D-975B-4C8E-9D25-6510691D53D9}" dt="2023-06-23T06:11:31.811" v="27" actId="20577"/>
        <pc:sldMkLst>
          <pc:docMk/>
          <pc:sldMk cId="157441936" sldId="2613"/>
        </pc:sldMkLst>
        <pc:spChg chg="mod">
          <ac:chgData name="Fabio Tempelmann" userId="40073039d7e0f928" providerId="LiveId" clId="{F665C50D-975B-4C8E-9D25-6510691D53D9}" dt="2023-06-23T06:11:31.811" v="27" actId="20577"/>
          <ac:spMkLst>
            <pc:docMk/>
            <pc:sldMk cId="157441936" sldId="2613"/>
            <ac:spMk id="2" creationId="{3EC4595B-631D-4645-DC18-9F0478C4FE61}"/>
          </ac:spMkLst>
        </pc:spChg>
      </pc:sldChg>
      <pc:sldChg chg="del">
        <pc:chgData name="Fabio Tempelmann" userId="40073039d7e0f928" providerId="LiveId" clId="{F665C50D-975B-4C8E-9D25-6510691D53D9}" dt="2023-06-23T22:09:35.060" v="2886" actId="47"/>
        <pc:sldMkLst>
          <pc:docMk/>
          <pc:sldMk cId="760140807" sldId="2614"/>
        </pc:sldMkLst>
      </pc:sldChg>
      <pc:sldChg chg="addSp delSp modSp mod">
        <pc:chgData name="Fabio Tempelmann" userId="40073039d7e0f928" providerId="LiveId" clId="{F665C50D-975B-4C8E-9D25-6510691D53D9}" dt="2023-06-23T21:59:39.977" v="2323" actId="20577"/>
        <pc:sldMkLst>
          <pc:docMk/>
          <pc:sldMk cId="196490722" sldId="2615"/>
        </pc:sldMkLst>
        <pc:spChg chg="mod">
          <ac:chgData name="Fabio Tempelmann" userId="40073039d7e0f928" providerId="LiveId" clId="{F665C50D-975B-4C8E-9D25-6510691D53D9}" dt="2023-06-23T21:59:39.977" v="2323" actId="20577"/>
          <ac:spMkLst>
            <pc:docMk/>
            <pc:sldMk cId="196490722" sldId="2615"/>
            <ac:spMk id="2" creationId="{9020BBAA-BADC-0356-2F75-D2166926F717}"/>
          </ac:spMkLst>
        </pc:spChg>
        <pc:spChg chg="del">
          <ac:chgData name="Fabio Tempelmann" userId="40073039d7e0f928" providerId="LiveId" clId="{F665C50D-975B-4C8E-9D25-6510691D53D9}" dt="2023-06-23T21:04:16.050" v="214" actId="478"/>
          <ac:spMkLst>
            <pc:docMk/>
            <pc:sldMk cId="196490722" sldId="2615"/>
            <ac:spMk id="8" creationId="{9EAF87F5-9C65-FDB2-E77E-C1B1605E397E}"/>
          </ac:spMkLst>
        </pc:spChg>
        <pc:spChg chg="del">
          <ac:chgData name="Fabio Tempelmann" userId="40073039d7e0f928" providerId="LiveId" clId="{F665C50D-975B-4C8E-9D25-6510691D53D9}" dt="2023-06-23T21:04:16.050" v="214" actId="478"/>
          <ac:spMkLst>
            <pc:docMk/>
            <pc:sldMk cId="196490722" sldId="2615"/>
            <ac:spMk id="9" creationId="{C228097E-B9CB-A6CD-D239-65B90B9E7C17}"/>
          </ac:spMkLst>
        </pc:spChg>
        <pc:spChg chg="add mod">
          <ac:chgData name="Fabio Tempelmann" userId="40073039d7e0f928" providerId="LiveId" clId="{F665C50D-975B-4C8E-9D25-6510691D53D9}" dt="2023-06-23T21:04:16.186" v="215"/>
          <ac:spMkLst>
            <pc:docMk/>
            <pc:sldMk cId="196490722" sldId="2615"/>
            <ac:spMk id="11" creationId="{4E74A914-C01B-2286-5CDB-B1BB6E6ED91A}"/>
          </ac:spMkLst>
        </pc:spChg>
        <pc:spChg chg="add mod">
          <ac:chgData name="Fabio Tempelmann" userId="40073039d7e0f928" providerId="LiveId" clId="{F665C50D-975B-4C8E-9D25-6510691D53D9}" dt="2023-06-23T21:04:16.186" v="215"/>
          <ac:spMkLst>
            <pc:docMk/>
            <pc:sldMk cId="196490722" sldId="2615"/>
            <ac:spMk id="12" creationId="{D1DB1378-B933-8111-5EC7-DF05F1AE3DC5}"/>
          </ac:spMkLst>
        </pc:spChg>
      </pc:sldChg>
      <pc:sldChg chg="addSp delSp modSp mod">
        <pc:chgData name="Fabio Tempelmann" userId="40073039d7e0f928" providerId="LiveId" clId="{F665C50D-975B-4C8E-9D25-6510691D53D9}" dt="2023-06-23T21:59:50.656" v="2324" actId="255"/>
        <pc:sldMkLst>
          <pc:docMk/>
          <pc:sldMk cId="1059586728" sldId="2617"/>
        </pc:sldMkLst>
        <pc:spChg chg="add mod">
          <ac:chgData name="Fabio Tempelmann" userId="40073039d7e0f928" providerId="LiveId" clId="{F665C50D-975B-4C8E-9D25-6510691D53D9}" dt="2023-06-23T21:04:13.273" v="213"/>
          <ac:spMkLst>
            <pc:docMk/>
            <pc:sldMk cId="1059586728" sldId="2617"/>
            <ac:spMk id="2" creationId="{073D326F-A66D-71AC-3D40-CD14E9847155}"/>
          </ac:spMkLst>
        </pc:spChg>
        <pc:spChg chg="mod">
          <ac:chgData name="Fabio Tempelmann" userId="40073039d7e0f928" providerId="LiveId" clId="{F665C50D-975B-4C8E-9D25-6510691D53D9}" dt="2023-06-23T21:59:50.656" v="2324" actId="255"/>
          <ac:spMkLst>
            <pc:docMk/>
            <pc:sldMk cId="1059586728" sldId="2617"/>
            <ac:spMk id="4" creationId="{67DE67F5-F1FF-51AA-4461-3343259909F1}"/>
          </ac:spMkLst>
        </pc:spChg>
        <pc:spChg chg="mod">
          <ac:chgData name="Fabio Tempelmann" userId="40073039d7e0f928" providerId="LiveId" clId="{F665C50D-975B-4C8E-9D25-6510691D53D9}" dt="2023-06-23T14:31:15.662" v="187" actId="20577"/>
          <ac:spMkLst>
            <pc:docMk/>
            <pc:sldMk cId="1059586728" sldId="2617"/>
            <ac:spMk id="5" creationId="{3087EC4B-BBAF-662C-D2DD-D010F79769B2}"/>
          </ac:spMkLst>
        </pc:spChg>
        <pc:spChg chg="add mod">
          <ac:chgData name="Fabio Tempelmann" userId="40073039d7e0f928" providerId="LiveId" clId="{F665C50D-975B-4C8E-9D25-6510691D53D9}" dt="2023-06-23T21:04:13.273" v="213"/>
          <ac:spMkLst>
            <pc:docMk/>
            <pc:sldMk cId="1059586728" sldId="2617"/>
            <ac:spMk id="7" creationId="{77000980-8033-1820-5F28-8BD981884D6A}"/>
          </ac:spMkLst>
        </pc:spChg>
        <pc:spChg chg="del">
          <ac:chgData name="Fabio Tempelmann" userId="40073039d7e0f928" providerId="LiveId" clId="{F665C50D-975B-4C8E-9D25-6510691D53D9}" dt="2023-06-23T21:04:13.138" v="212" actId="478"/>
          <ac:spMkLst>
            <pc:docMk/>
            <pc:sldMk cId="1059586728" sldId="2617"/>
            <ac:spMk id="11" creationId="{EF5A8163-6F23-D905-9C4E-49A5310ACD0E}"/>
          </ac:spMkLst>
        </pc:spChg>
        <pc:spChg chg="del">
          <ac:chgData name="Fabio Tempelmann" userId="40073039d7e0f928" providerId="LiveId" clId="{F665C50D-975B-4C8E-9D25-6510691D53D9}" dt="2023-06-23T21:04:13.138" v="212" actId="478"/>
          <ac:spMkLst>
            <pc:docMk/>
            <pc:sldMk cId="1059586728" sldId="2617"/>
            <ac:spMk id="12" creationId="{295BF448-5827-A8EB-09BD-52A641FEEEEE}"/>
          </ac:spMkLst>
        </pc:spChg>
        <pc:picChg chg="del">
          <ac:chgData name="Fabio Tempelmann" userId="40073039d7e0f928" providerId="LiveId" clId="{F665C50D-975B-4C8E-9D25-6510691D53D9}" dt="2023-06-23T21:59:05.299" v="2317" actId="21"/>
          <ac:picMkLst>
            <pc:docMk/>
            <pc:sldMk cId="1059586728" sldId="2617"/>
            <ac:picMk id="3" creationId="{ACE10A72-D42A-C3F3-8F38-96C204C1951B}"/>
          </ac:picMkLst>
        </pc:picChg>
        <pc:picChg chg="add del mod">
          <ac:chgData name="Fabio Tempelmann" userId="40073039d7e0f928" providerId="LiveId" clId="{F665C50D-975B-4C8E-9D25-6510691D53D9}" dt="2023-06-23T14:26:18.591" v="57" actId="478"/>
          <ac:picMkLst>
            <pc:docMk/>
            <pc:sldMk cId="1059586728" sldId="2617"/>
            <ac:picMk id="3" creationId="{CE7A45AD-2E09-F8B2-ADB5-59804E0F99F1}"/>
          </ac:picMkLst>
        </pc:picChg>
        <pc:picChg chg="add mod">
          <ac:chgData name="Fabio Tempelmann" userId="40073039d7e0f928" providerId="LiveId" clId="{F665C50D-975B-4C8E-9D25-6510691D53D9}" dt="2023-06-23T14:28:14.110" v="101" actId="14100"/>
          <ac:picMkLst>
            <pc:docMk/>
            <pc:sldMk cId="1059586728" sldId="2617"/>
            <ac:picMk id="8" creationId="{DDFA32CE-2D6C-2CAF-6905-7BD1408CF5ED}"/>
          </ac:picMkLst>
        </pc:picChg>
      </pc:sldChg>
      <pc:sldChg chg="addSp delSp modSp mod">
        <pc:chgData name="Fabio Tempelmann" userId="40073039d7e0f928" providerId="LiveId" clId="{F665C50D-975B-4C8E-9D25-6510691D53D9}" dt="2023-06-23T21:59:33.778" v="2321" actId="20577"/>
        <pc:sldMkLst>
          <pc:docMk/>
          <pc:sldMk cId="487180449" sldId="2618"/>
        </pc:sldMkLst>
        <pc:spChg chg="mod">
          <ac:chgData name="Fabio Tempelmann" userId="40073039d7e0f928" providerId="LiveId" clId="{F665C50D-975B-4C8E-9D25-6510691D53D9}" dt="2023-06-23T21:59:33.778" v="2321" actId="20577"/>
          <ac:spMkLst>
            <pc:docMk/>
            <pc:sldMk cId="487180449" sldId="2618"/>
            <ac:spMk id="2" creationId="{886831C3-290D-AC7C-46E6-282FEC3CBE21}"/>
          </ac:spMkLst>
        </pc:spChg>
        <pc:spChg chg="del">
          <ac:chgData name="Fabio Tempelmann" userId="40073039d7e0f928" providerId="LiveId" clId="{F665C50D-975B-4C8E-9D25-6510691D53D9}" dt="2023-06-23T21:04:22.189" v="216" actId="478"/>
          <ac:spMkLst>
            <pc:docMk/>
            <pc:sldMk cId="487180449" sldId="2618"/>
            <ac:spMk id="8" creationId="{EDBB01A5-AA20-3A90-C236-A19FDB07371E}"/>
          </ac:spMkLst>
        </pc:spChg>
        <pc:spChg chg="del">
          <ac:chgData name="Fabio Tempelmann" userId="40073039d7e0f928" providerId="LiveId" clId="{F665C50D-975B-4C8E-9D25-6510691D53D9}" dt="2023-06-23T21:04:22.189" v="216" actId="478"/>
          <ac:spMkLst>
            <pc:docMk/>
            <pc:sldMk cId="487180449" sldId="2618"/>
            <ac:spMk id="9" creationId="{305BB36D-BAA4-5595-8255-B358D3487134}"/>
          </ac:spMkLst>
        </pc:spChg>
        <pc:spChg chg="add mod">
          <ac:chgData name="Fabio Tempelmann" userId="40073039d7e0f928" providerId="LiveId" clId="{F665C50D-975B-4C8E-9D25-6510691D53D9}" dt="2023-06-23T21:04:22.348" v="217"/>
          <ac:spMkLst>
            <pc:docMk/>
            <pc:sldMk cId="487180449" sldId="2618"/>
            <ac:spMk id="11" creationId="{078472CF-E68F-FF54-C877-20BCCB968672}"/>
          </ac:spMkLst>
        </pc:spChg>
        <pc:spChg chg="add mod">
          <ac:chgData name="Fabio Tempelmann" userId="40073039d7e0f928" providerId="LiveId" clId="{F665C50D-975B-4C8E-9D25-6510691D53D9}" dt="2023-06-23T21:04:22.348" v="217"/>
          <ac:spMkLst>
            <pc:docMk/>
            <pc:sldMk cId="487180449" sldId="2618"/>
            <ac:spMk id="12" creationId="{5CC35EF4-9E25-B60C-9CA1-4C293BB0D1AC}"/>
          </ac:spMkLst>
        </pc:spChg>
      </pc:sldChg>
      <pc:sldChg chg="addSp delSp modSp mod">
        <pc:chgData name="Fabio Tempelmann" userId="40073039d7e0f928" providerId="LiveId" clId="{F665C50D-975B-4C8E-9D25-6510691D53D9}" dt="2023-06-23T21:59:29.896" v="2320" actId="6549"/>
        <pc:sldMkLst>
          <pc:docMk/>
          <pc:sldMk cId="4115123568" sldId="2619"/>
        </pc:sldMkLst>
        <pc:spChg chg="mod">
          <ac:chgData name="Fabio Tempelmann" userId="40073039d7e0f928" providerId="LiveId" clId="{F665C50D-975B-4C8E-9D25-6510691D53D9}" dt="2023-06-23T21:59:29.896" v="2320" actId="6549"/>
          <ac:spMkLst>
            <pc:docMk/>
            <pc:sldMk cId="4115123568" sldId="2619"/>
            <ac:spMk id="2" creationId="{176AEB5A-F8B5-D9C4-0F96-B96C14144A9C}"/>
          </ac:spMkLst>
        </pc:spChg>
        <pc:spChg chg="mod">
          <ac:chgData name="Fabio Tempelmann" userId="40073039d7e0f928" providerId="LiveId" clId="{F665C50D-975B-4C8E-9D25-6510691D53D9}" dt="2023-06-23T06:00:52.543" v="9"/>
          <ac:spMkLst>
            <pc:docMk/>
            <pc:sldMk cId="4115123568" sldId="2619"/>
            <ac:spMk id="3" creationId="{28BA8E4C-9EA1-8482-05A2-1F4C18AB748C}"/>
          </ac:spMkLst>
        </pc:spChg>
        <pc:spChg chg="mod">
          <ac:chgData name="Fabio Tempelmann" userId="40073039d7e0f928" providerId="LiveId" clId="{F665C50D-975B-4C8E-9D25-6510691D53D9}" dt="2023-06-23T05:54:55.303" v="0"/>
          <ac:spMkLst>
            <pc:docMk/>
            <pc:sldMk cId="4115123568" sldId="2619"/>
            <ac:spMk id="4" creationId="{139A9CEF-F0FE-0009-3753-DB231D76389D}"/>
          </ac:spMkLst>
        </pc:spChg>
        <pc:spChg chg="del">
          <ac:chgData name="Fabio Tempelmann" userId="40073039d7e0f928" providerId="LiveId" clId="{F665C50D-975B-4C8E-9D25-6510691D53D9}" dt="2023-06-23T21:04:24.983" v="218" actId="478"/>
          <ac:spMkLst>
            <pc:docMk/>
            <pc:sldMk cId="4115123568" sldId="2619"/>
            <ac:spMk id="8" creationId="{3393883E-820D-9B8B-FCC2-2109789F1270}"/>
          </ac:spMkLst>
        </pc:spChg>
        <pc:spChg chg="del">
          <ac:chgData name="Fabio Tempelmann" userId="40073039d7e0f928" providerId="LiveId" clId="{F665C50D-975B-4C8E-9D25-6510691D53D9}" dt="2023-06-23T21:04:24.983" v="218" actId="478"/>
          <ac:spMkLst>
            <pc:docMk/>
            <pc:sldMk cId="4115123568" sldId="2619"/>
            <ac:spMk id="9" creationId="{64709BC2-4B71-FB0C-5D4D-0FF2DC96E059}"/>
          </ac:spMkLst>
        </pc:spChg>
        <pc:spChg chg="del">
          <ac:chgData name="Fabio Tempelmann" userId="40073039d7e0f928" providerId="LiveId" clId="{F665C50D-975B-4C8E-9D25-6510691D53D9}" dt="2023-06-23T21:55:35.928" v="2077" actId="478"/>
          <ac:spMkLst>
            <pc:docMk/>
            <pc:sldMk cId="4115123568" sldId="2619"/>
            <ac:spMk id="11" creationId="{10754114-B8B2-5FAB-6224-A482FAE19880}"/>
          </ac:spMkLst>
        </pc:spChg>
        <pc:spChg chg="add mod">
          <ac:chgData name="Fabio Tempelmann" userId="40073039d7e0f928" providerId="LiveId" clId="{F665C50D-975B-4C8E-9D25-6510691D53D9}" dt="2023-06-23T21:04:25.149" v="219"/>
          <ac:spMkLst>
            <pc:docMk/>
            <pc:sldMk cId="4115123568" sldId="2619"/>
            <ac:spMk id="12" creationId="{E0E40600-37D2-E1D4-3799-F5CC6D2EF521}"/>
          </ac:spMkLst>
        </pc:spChg>
        <pc:spChg chg="add mod">
          <ac:chgData name="Fabio Tempelmann" userId="40073039d7e0f928" providerId="LiveId" clId="{F665C50D-975B-4C8E-9D25-6510691D53D9}" dt="2023-06-23T21:04:25.149" v="219"/>
          <ac:spMkLst>
            <pc:docMk/>
            <pc:sldMk cId="4115123568" sldId="2619"/>
            <ac:spMk id="13" creationId="{3361D556-7D39-5D4A-E880-1507A12BC605}"/>
          </ac:spMkLst>
        </pc:spChg>
      </pc:sldChg>
      <pc:sldChg chg="addSp delSp modSp add mod">
        <pc:chgData name="Fabio Tempelmann" userId="40073039d7e0f928" providerId="LiveId" clId="{F665C50D-975B-4C8E-9D25-6510691D53D9}" dt="2023-06-23T22:12:58.336" v="2969" actId="12"/>
        <pc:sldMkLst>
          <pc:docMk/>
          <pc:sldMk cId="2647494161" sldId="2620"/>
        </pc:sldMkLst>
        <pc:spChg chg="mod">
          <ac:chgData name="Fabio Tempelmann" userId="40073039d7e0f928" providerId="LiveId" clId="{F665C50D-975B-4C8E-9D25-6510691D53D9}" dt="2023-06-23T21:59:57.820" v="2325" actId="20577"/>
          <ac:spMkLst>
            <pc:docMk/>
            <pc:sldMk cId="2647494161" sldId="2620"/>
            <ac:spMk id="2" creationId="{176AEB5A-F8B5-D9C4-0F96-B96C14144A9C}"/>
          </ac:spMkLst>
        </pc:spChg>
        <pc:spChg chg="mod">
          <ac:chgData name="Fabio Tempelmann" userId="40073039d7e0f928" providerId="LiveId" clId="{F665C50D-975B-4C8E-9D25-6510691D53D9}" dt="2023-06-23T22:12:58.336" v="2969" actId="12"/>
          <ac:spMkLst>
            <pc:docMk/>
            <pc:sldMk cId="2647494161" sldId="2620"/>
            <ac:spMk id="3" creationId="{28BA8E4C-9EA1-8482-05A2-1F4C18AB748C}"/>
          </ac:spMkLst>
        </pc:spChg>
        <pc:spChg chg="mod">
          <ac:chgData name="Fabio Tempelmann" userId="40073039d7e0f928" providerId="LiveId" clId="{F665C50D-975B-4C8E-9D25-6510691D53D9}" dt="2023-06-23T05:55:05.683" v="2"/>
          <ac:spMkLst>
            <pc:docMk/>
            <pc:sldMk cId="2647494161" sldId="2620"/>
            <ac:spMk id="4" creationId="{139A9CEF-F0FE-0009-3753-DB231D76389D}"/>
          </ac:spMkLst>
        </pc:spChg>
        <pc:spChg chg="del">
          <ac:chgData name="Fabio Tempelmann" userId="40073039d7e0f928" providerId="LiveId" clId="{F665C50D-975B-4C8E-9D25-6510691D53D9}" dt="2023-06-23T21:04:27.955" v="220" actId="478"/>
          <ac:spMkLst>
            <pc:docMk/>
            <pc:sldMk cId="2647494161" sldId="2620"/>
            <ac:spMk id="8" creationId="{F1C2E278-ABD1-0A2E-D673-C60ED7296319}"/>
          </ac:spMkLst>
        </pc:spChg>
        <pc:spChg chg="del">
          <ac:chgData name="Fabio Tempelmann" userId="40073039d7e0f928" providerId="LiveId" clId="{F665C50D-975B-4C8E-9D25-6510691D53D9}" dt="2023-06-23T21:04:27.955" v="220" actId="478"/>
          <ac:spMkLst>
            <pc:docMk/>
            <pc:sldMk cId="2647494161" sldId="2620"/>
            <ac:spMk id="9" creationId="{0C89D23D-0226-1D7F-7B48-D60EC95278C0}"/>
          </ac:spMkLst>
        </pc:spChg>
        <pc:spChg chg="add mod">
          <ac:chgData name="Fabio Tempelmann" userId="40073039d7e0f928" providerId="LiveId" clId="{F665C50D-975B-4C8E-9D25-6510691D53D9}" dt="2023-06-23T21:04:28.093" v="221"/>
          <ac:spMkLst>
            <pc:docMk/>
            <pc:sldMk cId="2647494161" sldId="2620"/>
            <ac:spMk id="11" creationId="{54EDF03A-AE1B-5B6D-EA44-C222833EC0AE}"/>
          </ac:spMkLst>
        </pc:spChg>
        <pc:spChg chg="add mod">
          <ac:chgData name="Fabio Tempelmann" userId="40073039d7e0f928" providerId="LiveId" clId="{F665C50D-975B-4C8E-9D25-6510691D53D9}" dt="2023-06-23T21:04:28.093" v="221"/>
          <ac:spMkLst>
            <pc:docMk/>
            <pc:sldMk cId="2647494161" sldId="2620"/>
            <ac:spMk id="12" creationId="{2CB36DCB-EC3E-D38A-83FD-E4F5DFEF4AB7}"/>
          </ac:spMkLst>
        </pc:spChg>
      </pc:sldChg>
      <pc:sldChg chg="addSp delSp modSp add mod">
        <pc:chgData name="Fabio Tempelmann" userId="40073039d7e0f928" providerId="LiveId" clId="{F665C50D-975B-4C8E-9D25-6510691D53D9}" dt="2023-06-23T22:00:01.580" v="2326" actId="20577"/>
        <pc:sldMkLst>
          <pc:docMk/>
          <pc:sldMk cId="2300202071" sldId="2621"/>
        </pc:sldMkLst>
        <pc:spChg chg="mod">
          <ac:chgData name="Fabio Tempelmann" userId="40073039d7e0f928" providerId="LiveId" clId="{F665C50D-975B-4C8E-9D25-6510691D53D9}" dt="2023-06-23T22:00:01.580" v="2326" actId="20577"/>
          <ac:spMkLst>
            <pc:docMk/>
            <pc:sldMk cId="2300202071" sldId="2621"/>
            <ac:spMk id="2" creationId="{176AEB5A-F8B5-D9C4-0F96-B96C14144A9C}"/>
          </ac:spMkLst>
        </pc:spChg>
        <pc:spChg chg="mod">
          <ac:chgData name="Fabio Tempelmann" userId="40073039d7e0f928" providerId="LiveId" clId="{F665C50D-975B-4C8E-9D25-6510691D53D9}" dt="2023-06-23T06:01:13.003" v="11"/>
          <ac:spMkLst>
            <pc:docMk/>
            <pc:sldMk cId="2300202071" sldId="2621"/>
            <ac:spMk id="3" creationId="{28BA8E4C-9EA1-8482-05A2-1F4C18AB748C}"/>
          </ac:spMkLst>
        </pc:spChg>
        <pc:spChg chg="mod">
          <ac:chgData name="Fabio Tempelmann" userId="40073039d7e0f928" providerId="LiveId" clId="{F665C50D-975B-4C8E-9D25-6510691D53D9}" dt="2023-06-23T05:55:19.264" v="4"/>
          <ac:spMkLst>
            <pc:docMk/>
            <pc:sldMk cId="2300202071" sldId="2621"/>
            <ac:spMk id="4" creationId="{139A9CEF-F0FE-0009-3753-DB231D76389D}"/>
          </ac:spMkLst>
        </pc:spChg>
        <pc:spChg chg="del">
          <ac:chgData name="Fabio Tempelmann" userId="40073039d7e0f928" providerId="LiveId" clId="{F665C50D-975B-4C8E-9D25-6510691D53D9}" dt="2023-06-23T21:04:30.445" v="222" actId="478"/>
          <ac:spMkLst>
            <pc:docMk/>
            <pc:sldMk cId="2300202071" sldId="2621"/>
            <ac:spMk id="8" creationId="{69DBEED2-EC02-EE11-4D51-3C032B168F81}"/>
          </ac:spMkLst>
        </pc:spChg>
        <pc:spChg chg="del">
          <ac:chgData name="Fabio Tempelmann" userId="40073039d7e0f928" providerId="LiveId" clId="{F665C50D-975B-4C8E-9D25-6510691D53D9}" dt="2023-06-23T21:04:30.445" v="222" actId="478"/>
          <ac:spMkLst>
            <pc:docMk/>
            <pc:sldMk cId="2300202071" sldId="2621"/>
            <ac:spMk id="9" creationId="{FF9AADE5-D8B0-22A4-19D0-9BD06CEB4AAE}"/>
          </ac:spMkLst>
        </pc:spChg>
        <pc:spChg chg="add mod">
          <ac:chgData name="Fabio Tempelmann" userId="40073039d7e0f928" providerId="LiveId" clId="{F665C50D-975B-4C8E-9D25-6510691D53D9}" dt="2023-06-23T21:04:30.591" v="223"/>
          <ac:spMkLst>
            <pc:docMk/>
            <pc:sldMk cId="2300202071" sldId="2621"/>
            <ac:spMk id="11" creationId="{821E5230-0B8B-9B17-428A-A4ACF24F2D0D}"/>
          </ac:spMkLst>
        </pc:spChg>
        <pc:spChg chg="add mod">
          <ac:chgData name="Fabio Tempelmann" userId="40073039d7e0f928" providerId="LiveId" clId="{F665C50D-975B-4C8E-9D25-6510691D53D9}" dt="2023-06-23T21:04:30.591" v="223"/>
          <ac:spMkLst>
            <pc:docMk/>
            <pc:sldMk cId="2300202071" sldId="2621"/>
            <ac:spMk id="12" creationId="{236F006C-8F66-880A-5D24-163AC9D62756}"/>
          </ac:spMkLst>
        </pc:spChg>
      </pc:sldChg>
      <pc:sldChg chg="addSp delSp modSp add mod">
        <pc:chgData name="Fabio Tempelmann" userId="40073039d7e0f928" providerId="LiveId" clId="{F665C50D-975B-4C8E-9D25-6510691D53D9}" dt="2023-06-23T22:00:03.747" v="2327" actId="20577"/>
        <pc:sldMkLst>
          <pc:docMk/>
          <pc:sldMk cId="2507582321" sldId="2622"/>
        </pc:sldMkLst>
        <pc:spChg chg="mod">
          <ac:chgData name="Fabio Tempelmann" userId="40073039d7e0f928" providerId="LiveId" clId="{F665C50D-975B-4C8E-9D25-6510691D53D9}" dt="2023-06-23T22:00:03.747" v="2327" actId="20577"/>
          <ac:spMkLst>
            <pc:docMk/>
            <pc:sldMk cId="2507582321" sldId="2622"/>
            <ac:spMk id="2" creationId="{176AEB5A-F8B5-D9C4-0F96-B96C14144A9C}"/>
          </ac:spMkLst>
        </pc:spChg>
        <pc:spChg chg="mod">
          <ac:chgData name="Fabio Tempelmann" userId="40073039d7e0f928" providerId="LiveId" clId="{F665C50D-975B-4C8E-9D25-6510691D53D9}" dt="2023-06-23T06:01:24.164" v="12"/>
          <ac:spMkLst>
            <pc:docMk/>
            <pc:sldMk cId="2507582321" sldId="2622"/>
            <ac:spMk id="3" creationId="{28BA8E4C-9EA1-8482-05A2-1F4C18AB748C}"/>
          </ac:spMkLst>
        </pc:spChg>
        <pc:spChg chg="mod">
          <ac:chgData name="Fabio Tempelmann" userId="40073039d7e0f928" providerId="LiveId" clId="{F665C50D-975B-4C8E-9D25-6510691D53D9}" dt="2023-06-23T05:55:26.478" v="6"/>
          <ac:spMkLst>
            <pc:docMk/>
            <pc:sldMk cId="2507582321" sldId="2622"/>
            <ac:spMk id="4" creationId="{139A9CEF-F0FE-0009-3753-DB231D76389D}"/>
          </ac:spMkLst>
        </pc:spChg>
        <pc:spChg chg="del">
          <ac:chgData name="Fabio Tempelmann" userId="40073039d7e0f928" providerId="LiveId" clId="{F665C50D-975B-4C8E-9D25-6510691D53D9}" dt="2023-06-23T21:04:35.259" v="224" actId="478"/>
          <ac:spMkLst>
            <pc:docMk/>
            <pc:sldMk cId="2507582321" sldId="2622"/>
            <ac:spMk id="8" creationId="{1AEF4299-572E-532D-2FF4-D903369A65C5}"/>
          </ac:spMkLst>
        </pc:spChg>
        <pc:spChg chg="del">
          <ac:chgData name="Fabio Tempelmann" userId="40073039d7e0f928" providerId="LiveId" clId="{F665C50D-975B-4C8E-9D25-6510691D53D9}" dt="2023-06-23T21:04:35.259" v="224" actId="478"/>
          <ac:spMkLst>
            <pc:docMk/>
            <pc:sldMk cId="2507582321" sldId="2622"/>
            <ac:spMk id="9" creationId="{8B21EF69-F6F3-DD80-B1E3-23ABA391C64E}"/>
          </ac:spMkLst>
        </pc:spChg>
        <pc:spChg chg="add mod">
          <ac:chgData name="Fabio Tempelmann" userId="40073039d7e0f928" providerId="LiveId" clId="{F665C50D-975B-4C8E-9D25-6510691D53D9}" dt="2023-06-23T21:04:35.376" v="225"/>
          <ac:spMkLst>
            <pc:docMk/>
            <pc:sldMk cId="2507582321" sldId="2622"/>
            <ac:spMk id="11" creationId="{B0101D0E-91AE-C332-7051-4D6D6AB15EDC}"/>
          </ac:spMkLst>
        </pc:spChg>
        <pc:spChg chg="add mod">
          <ac:chgData name="Fabio Tempelmann" userId="40073039d7e0f928" providerId="LiveId" clId="{F665C50D-975B-4C8E-9D25-6510691D53D9}" dt="2023-06-23T21:04:35.376" v="225"/>
          <ac:spMkLst>
            <pc:docMk/>
            <pc:sldMk cId="2507582321" sldId="2622"/>
            <ac:spMk id="12" creationId="{B1F368B7-0955-F54C-2108-E2E7C96E4F7A}"/>
          </ac:spMkLst>
        </pc:spChg>
      </pc:sldChg>
      <pc:sldChg chg="addSp delSp modSp add mod">
        <pc:chgData name="Fabio Tempelmann" userId="40073039d7e0f928" providerId="LiveId" clId="{F665C50D-975B-4C8E-9D25-6510691D53D9}" dt="2023-06-23T22:01:51.146" v="2362" actId="1036"/>
        <pc:sldMkLst>
          <pc:docMk/>
          <pc:sldMk cId="933334753" sldId="2623"/>
        </pc:sldMkLst>
        <pc:spChg chg="mod">
          <ac:chgData name="Fabio Tempelmann" userId="40073039d7e0f928" providerId="LiveId" clId="{F665C50D-975B-4C8E-9D25-6510691D53D9}" dt="2023-06-23T22:00:50.504" v="2336"/>
          <ac:spMkLst>
            <pc:docMk/>
            <pc:sldMk cId="933334753" sldId="2623"/>
            <ac:spMk id="2" creationId="{176AEB5A-F8B5-D9C4-0F96-B96C14144A9C}"/>
          </ac:spMkLst>
        </pc:spChg>
        <pc:spChg chg="mod">
          <ac:chgData name="Fabio Tempelmann" userId="40073039d7e0f928" providerId="LiveId" clId="{F665C50D-975B-4C8E-9D25-6510691D53D9}" dt="2023-06-23T06:01:33.814" v="13"/>
          <ac:spMkLst>
            <pc:docMk/>
            <pc:sldMk cId="933334753" sldId="2623"/>
            <ac:spMk id="3" creationId="{28BA8E4C-9EA1-8482-05A2-1F4C18AB748C}"/>
          </ac:spMkLst>
        </pc:spChg>
        <pc:spChg chg="mod">
          <ac:chgData name="Fabio Tempelmann" userId="40073039d7e0f928" providerId="LiveId" clId="{F665C50D-975B-4C8E-9D25-6510691D53D9}" dt="2023-06-23T05:55:51.423" v="8"/>
          <ac:spMkLst>
            <pc:docMk/>
            <pc:sldMk cId="933334753" sldId="2623"/>
            <ac:spMk id="4" creationId="{139A9CEF-F0FE-0009-3753-DB231D76389D}"/>
          </ac:spMkLst>
        </pc:spChg>
        <pc:spChg chg="del">
          <ac:chgData name="Fabio Tempelmann" userId="40073039d7e0f928" providerId="LiveId" clId="{F665C50D-975B-4C8E-9D25-6510691D53D9}" dt="2023-06-23T21:04:38.247" v="226" actId="478"/>
          <ac:spMkLst>
            <pc:docMk/>
            <pc:sldMk cId="933334753" sldId="2623"/>
            <ac:spMk id="8" creationId="{077FCB1A-6277-F7E6-83DE-80ECD423DF30}"/>
          </ac:spMkLst>
        </pc:spChg>
        <pc:spChg chg="del">
          <ac:chgData name="Fabio Tempelmann" userId="40073039d7e0f928" providerId="LiveId" clId="{F665C50D-975B-4C8E-9D25-6510691D53D9}" dt="2023-06-23T21:04:38.247" v="226" actId="478"/>
          <ac:spMkLst>
            <pc:docMk/>
            <pc:sldMk cId="933334753" sldId="2623"/>
            <ac:spMk id="9" creationId="{555A583C-52CD-5F8F-CBF0-FB3804551B8B}"/>
          </ac:spMkLst>
        </pc:spChg>
        <pc:spChg chg="add mod">
          <ac:chgData name="Fabio Tempelmann" userId="40073039d7e0f928" providerId="LiveId" clId="{F665C50D-975B-4C8E-9D25-6510691D53D9}" dt="2023-06-23T21:04:38.388" v="227"/>
          <ac:spMkLst>
            <pc:docMk/>
            <pc:sldMk cId="933334753" sldId="2623"/>
            <ac:spMk id="11" creationId="{A9402EA7-1EFA-FF8C-321D-AE91FD0F8F5C}"/>
          </ac:spMkLst>
        </pc:spChg>
        <pc:spChg chg="add mod">
          <ac:chgData name="Fabio Tempelmann" userId="40073039d7e0f928" providerId="LiveId" clId="{F665C50D-975B-4C8E-9D25-6510691D53D9}" dt="2023-06-23T21:04:38.388" v="227"/>
          <ac:spMkLst>
            <pc:docMk/>
            <pc:sldMk cId="933334753" sldId="2623"/>
            <ac:spMk id="13" creationId="{BD297D13-F0E0-C35D-C1C4-006D5AEBD6B9}"/>
          </ac:spMkLst>
        </pc:spChg>
        <pc:spChg chg="add mod">
          <ac:chgData name="Fabio Tempelmann" userId="40073039d7e0f928" providerId="LiveId" clId="{F665C50D-975B-4C8E-9D25-6510691D53D9}" dt="2023-06-23T22:01:51.146" v="2362" actId="1036"/>
          <ac:spMkLst>
            <pc:docMk/>
            <pc:sldMk cId="933334753" sldId="2623"/>
            <ac:spMk id="15" creationId="{13F7BC07-165A-3DDA-9B0A-855B2A5CD145}"/>
          </ac:spMkLst>
        </pc:spChg>
        <pc:picChg chg="mod">
          <ac:chgData name="Fabio Tempelmann" userId="40073039d7e0f928" providerId="LiveId" clId="{F665C50D-975B-4C8E-9D25-6510691D53D9}" dt="2023-06-23T22:00:55.703" v="2339" actId="1076"/>
          <ac:picMkLst>
            <pc:docMk/>
            <pc:sldMk cId="933334753" sldId="2623"/>
            <ac:picMk id="12" creationId="{57CE9C3B-C547-EE92-37DA-26956344D502}"/>
          </ac:picMkLst>
        </pc:picChg>
      </pc:sldChg>
      <pc:sldChg chg="addSp delSp modSp new mod">
        <pc:chgData name="Fabio Tempelmann" userId="40073039d7e0f928" providerId="LiveId" clId="{F665C50D-975B-4C8E-9D25-6510691D53D9}" dt="2023-06-23T21:04:42.464" v="229"/>
        <pc:sldMkLst>
          <pc:docMk/>
          <pc:sldMk cId="2543157886" sldId="2624"/>
        </pc:sldMkLst>
        <pc:spChg chg="mod">
          <ac:chgData name="Fabio Tempelmann" userId="40073039d7e0f928" providerId="LiveId" clId="{F665C50D-975B-4C8E-9D25-6510691D53D9}" dt="2023-06-23T06:10:59.525" v="16"/>
          <ac:spMkLst>
            <pc:docMk/>
            <pc:sldMk cId="2543157886" sldId="2624"/>
            <ac:spMk id="2" creationId="{99E52CC8-821D-EC3A-B6A3-86A93EDAC758}"/>
          </ac:spMkLst>
        </pc:spChg>
        <pc:spChg chg="mod">
          <ac:chgData name="Fabio Tempelmann" userId="40073039d7e0f928" providerId="LiveId" clId="{F665C50D-975B-4C8E-9D25-6510691D53D9}" dt="2023-06-23T06:11:08.801" v="17"/>
          <ac:spMkLst>
            <pc:docMk/>
            <pc:sldMk cId="2543157886" sldId="2624"/>
            <ac:spMk id="3" creationId="{716FB6D6-FEEF-9BE3-1A32-F3A63AAC62F0}"/>
          </ac:spMkLst>
        </pc:spChg>
        <pc:spChg chg="del">
          <ac:chgData name="Fabio Tempelmann" userId="40073039d7e0f928" providerId="LiveId" clId="{F665C50D-975B-4C8E-9D25-6510691D53D9}" dt="2023-06-23T21:04:42.325" v="228" actId="478"/>
          <ac:spMkLst>
            <pc:docMk/>
            <pc:sldMk cId="2543157886" sldId="2624"/>
            <ac:spMk id="8" creationId="{DBB255D4-A8F6-F643-2FD6-94348CADEA8D}"/>
          </ac:spMkLst>
        </pc:spChg>
        <pc:spChg chg="del">
          <ac:chgData name="Fabio Tempelmann" userId="40073039d7e0f928" providerId="LiveId" clId="{F665C50D-975B-4C8E-9D25-6510691D53D9}" dt="2023-06-23T21:04:42.325" v="228" actId="478"/>
          <ac:spMkLst>
            <pc:docMk/>
            <pc:sldMk cId="2543157886" sldId="2624"/>
            <ac:spMk id="9" creationId="{6B10120B-BDDB-8C88-4484-A647FA4DFCE3}"/>
          </ac:spMkLst>
        </pc:spChg>
        <pc:spChg chg="add mod">
          <ac:chgData name="Fabio Tempelmann" userId="40073039d7e0f928" providerId="LiveId" clId="{F665C50D-975B-4C8E-9D25-6510691D53D9}" dt="2023-06-23T21:04:42.464" v="229"/>
          <ac:spMkLst>
            <pc:docMk/>
            <pc:sldMk cId="2543157886" sldId="2624"/>
            <ac:spMk id="11" creationId="{BA4A108E-AD2D-4350-CAAB-249E27A38CD8}"/>
          </ac:spMkLst>
        </pc:spChg>
        <pc:spChg chg="add mod">
          <ac:chgData name="Fabio Tempelmann" userId="40073039d7e0f928" providerId="LiveId" clId="{F665C50D-975B-4C8E-9D25-6510691D53D9}" dt="2023-06-23T21:04:42.464" v="229"/>
          <ac:spMkLst>
            <pc:docMk/>
            <pc:sldMk cId="2543157886" sldId="2624"/>
            <ac:spMk id="14" creationId="{D36BB4A1-BD21-4BFA-07EE-15CF06C7D7D2}"/>
          </ac:spMkLst>
        </pc:spChg>
      </pc:sldChg>
      <pc:sldChg chg="addSp delSp modSp new mod">
        <pc:chgData name="Fabio Tempelmann" userId="40073039d7e0f928" providerId="LiveId" clId="{F665C50D-975B-4C8E-9D25-6510691D53D9}" dt="2023-06-23T22:10:59.846" v="2892" actId="6549"/>
        <pc:sldMkLst>
          <pc:docMk/>
          <pc:sldMk cId="2792704478" sldId="2625"/>
        </pc:sldMkLst>
        <pc:spChg chg="mod">
          <ac:chgData name="Fabio Tempelmann" userId="40073039d7e0f928" providerId="LiveId" clId="{F665C50D-975B-4C8E-9D25-6510691D53D9}" dt="2023-06-23T22:10:59.846" v="2892" actId="6549"/>
          <ac:spMkLst>
            <pc:docMk/>
            <pc:sldMk cId="2792704478" sldId="2625"/>
            <ac:spMk id="3" creationId="{952775A6-6BA8-3F1F-2C6C-FC05C822CD38}"/>
          </ac:spMkLst>
        </pc:spChg>
        <pc:spChg chg="del">
          <ac:chgData name="Fabio Tempelmann" userId="40073039d7e0f928" providerId="LiveId" clId="{F665C50D-975B-4C8E-9D25-6510691D53D9}" dt="2023-06-23T21:04:45.473" v="230" actId="478"/>
          <ac:spMkLst>
            <pc:docMk/>
            <pc:sldMk cId="2792704478" sldId="2625"/>
            <ac:spMk id="8" creationId="{12688AED-8C70-E787-7DDF-2DFD053CD435}"/>
          </ac:spMkLst>
        </pc:spChg>
        <pc:spChg chg="del">
          <ac:chgData name="Fabio Tempelmann" userId="40073039d7e0f928" providerId="LiveId" clId="{F665C50D-975B-4C8E-9D25-6510691D53D9}" dt="2023-06-23T21:04:45.473" v="230" actId="478"/>
          <ac:spMkLst>
            <pc:docMk/>
            <pc:sldMk cId="2792704478" sldId="2625"/>
            <ac:spMk id="9" creationId="{BA430BC0-C14A-1F6C-BB11-0E0192F8D3A0}"/>
          </ac:spMkLst>
        </pc:spChg>
        <pc:spChg chg="add mod">
          <ac:chgData name="Fabio Tempelmann" userId="40073039d7e0f928" providerId="LiveId" clId="{F665C50D-975B-4C8E-9D25-6510691D53D9}" dt="2023-06-23T21:04:45.605" v="231"/>
          <ac:spMkLst>
            <pc:docMk/>
            <pc:sldMk cId="2792704478" sldId="2625"/>
            <ac:spMk id="11" creationId="{B1F51AC7-0ABA-F7A9-87DD-976ABB4C186F}"/>
          </ac:spMkLst>
        </pc:spChg>
        <pc:spChg chg="add mod">
          <ac:chgData name="Fabio Tempelmann" userId="40073039d7e0f928" providerId="LiveId" clId="{F665C50D-975B-4C8E-9D25-6510691D53D9}" dt="2023-06-23T21:04:45.605" v="231"/>
          <ac:spMkLst>
            <pc:docMk/>
            <pc:sldMk cId="2792704478" sldId="2625"/>
            <ac:spMk id="12" creationId="{723BD8AA-E65A-6C77-0530-7BFD1604A691}"/>
          </ac:spMkLst>
        </pc:spChg>
      </pc:sldChg>
      <pc:sldChg chg="addSp delSp modSp new mod">
        <pc:chgData name="Fabio Tempelmann" userId="40073039d7e0f928" providerId="LiveId" clId="{F665C50D-975B-4C8E-9D25-6510691D53D9}" dt="2023-06-23T22:09:40.835" v="2887" actId="33524"/>
        <pc:sldMkLst>
          <pc:docMk/>
          <pc:sldMk cId="2066850630" sldId="2626"/>
        </pc:sldMkLst>
        <pc:spChg chg="mod">
          <ac:chgData name="Fabio Tempelmann" userId="40073039d7e0f928" providerId="LiveId" clId="{F665C50D-975B-4C8E-9D25-6510691D53D9}" dt="2023-06-23T06:11:46.495" v="37" actId="20577"/>
          <ac:spMkLst>
            <pc:docMk/>
            <pc:sldMk cId="2066850630" sldId="2626"/>
            <ac:spMk id="2" creationId="{6F064C7F-2139-9CCB-17AE-83B966AA921B}"/>
          </ac:spMkLst>
        </pc:spChg>
        <pc:spChg chg="mod">
          <ac:chgData name="Fabio Tempelmann" userId="40073039d7e0f928" providerId="LiveId" clId="{F665C50D-975B-4C8E-9D25-6510691D53D9}" dt="2023-06-23T22:09:40.835" v="2887" actId="33524"/>
          <ac:spMkLst>
            <pc:docMk/>
            <pc:sldMk cId="2066850630" sldId="2626"/>
            <ac:spMk id="3" creationId="{2AFA8BFB-70C1-1E29-E033-D6708F5E9B6C}"/>
          </ac:spMkLst>
        </pc:spChg>
        <pc:spChg chg="del">
          <ac:chgData name="Fabio Tempelmann" userId="40073039d7e0f928" providerId="LiveId" clId="{F665C50D-975B-4C8E-9D25-6510691D53D9}" dt="2023-06-23T22:05:30.135" v="2588" actId="478"/>
          <ac:spMkLst>
            <pc:docMk/>
            <pc:sldMk cId="2066850630" sldId="2626"/>
            <ac:spMk id="4" creationId="{B741D0E5-856D-322E-21FE-9EAF308F1FA4}"/>
          </ac:spMkLst>
        </pc:spChg>
        <pc:spChg chg="del">
          <ac:chgData name="Fabio Tempelmann" userId="40073039d7e0f928" providerId="LiveId" clId="{F665C50D-975B-4C8E-9D25-6510691D53D9}" dt="2023-06-23T21:04:48.802" v="232" actId="478"/>
          <ac:spMkLst>
            <pc:docMk/>
            <pc:sldMk cId="2066850630" sldId="2626"/>
            <ac:spMk id="8" creationId="{D95F6E8E-9717-82F9-9E51-880E31613E91}"/>
          </ac:spMkLst>
        </pc:spChg>
        <pc:spChg chg="del">
          <ac:chgData name="Fabio Tempelmann" userId="40073039d7e0f928" providerId="LiveId" clId="{F665C50D-975B-4C8E-9D25-6510691D53D9}" dt="2023-06-23T21:04:48.802" v="232" actId="478"/>
          <ac:spMkLst>
            <pc:docMk/>
            <pc:sldMk cId="2066850630" sldId="2626"/>
            <ac:spMk id="9" creationId="{4DF2EC91-67CB-6E8F-2091-722BCEFC44B8}"/>
          </ac:spMkLst>
        </pc:spChg>
        <pc:spChg chg="add mod">
          <ac:chgData name="Fabio Tempelmann" userId="40073039d7e0f928" providerId="LiveId" clId="{F665C50D-975B-4C8E-9D25-6510691D53D9}" dt="2023-06-23T21:04:48.926" v="233"/>
          <ac:spMkLst>
            <pc:docMk/>
            <pc:sldMk cId="2066850630" sldId="2626"/>
            <ac:spMk id="11" creationId="{3F00AACB-0336-D56F-3F65-A2CCA0E1D74D}"/>
          </ac:spMkLst>
        </pc:spChg>
        <pc:spChg chg="add mod">
          <ac:chgData name="Fabio Tempelmann" userId="40073039d7e0f928" providerId="LiveId" clId="{F665C50D-975B-4C8E-9D25-6510691D53D9}" dt="2023-06-23T21:04:48.926" v="233"/>
          <ac:spMkLst>
            <pc:docMk/>
            <pc:sldMk cId="2066850630" sldId="2626"/>
            <ac:spMk id="12" creationId="{C538C084-EBAA-6A61-EE20-276D5BFBE3B0}"/>
          </ac:spMkLst>
        </pc:spChg>
      </pc:sldChg>
      <pc:sldChg chg="addSp delSp modSp mod">
        <pc:chgData name="Fabio Tempelmann" userId="40073039d7e0f928" providerId="LiveId" clId="{F665C50D-975B-4C8E-9D25-6510691D53D9}" dt="2023-06-23T21:58:40.603" v="2316" actId="12"/>
        <pc:sldMkLst>
          <pc:docMk/>
          <pc:sldMk cId="3214409637" sldId="2627"/>
        </pc:sldMkLst>
        <pc:spChg chg="mod">
          <ac:chgData name="Fabio Tempelmann" userId="40073039d7e0f928" providerId="LiveId" clId="{F665C50D-975B-4C8E-9D25-6510691D53D9}" dt="2023-06-23T21:58:40.603" v="2316" actId="12"/>
          <ac:spMkLst>
            <pc:docMk/>
            <pc:sldMk cId="3214409637" sldId="2627"/>
            <ac:spMk id="3" creationId="{018B4BB0-9A59-BC16-84FF-1110C5C97766}"/>
          </ac:spMkLst>
        </pc:spChg>
        <pc:spChg chg="del">
          <ac:chgData name="Fabio Tempelmann" userId="40073039d7e0f928" providerId="LiveId" clId="{F665C50D-975B-4C8E-9D25-6510691D53D9}" dt="2023-06-23T21:52:49.246" v="1937" actId="478"/>
          <ac:spMkLst>
            <pc:docMk/>
            <pc:sldMk cId="3214409637" sldId="2627"/>
            <ac:spMk id="4" creationId="{E4C31591-7993-F673-AE6F-6179110FE157}"/>
          </ac:spMkLst>
        </pc:spChg>
        <pc:spChg chg="del">
          <ac:chgData name="Fabio Tempelmann" userId="40073039d7e0f928" providerId="LiveId" clId="{F665C50D-975B-4C8E-9D25-6510691D53D9}" dt="2023-06-23T21:04:09.179" v="210" actId="478"/>
          <ac:spMkLst>
            <pc:docMk/>
            <pc:sldMk cId="3214409637" sldId="2627"/>
            <ac:spMk id="5" creationId="{AC26BC4A-AF08-DEB5-2B89-DA57A39975BB}"/>
          </ac:spMkLst>
        </pc:spChg>
        <pc:spChg chg="del">
          <ac:chgData name="Fabio Tempelmann" userId="40073039d7e0f928" providerId="LiveId" clId="{F665C50D-975B-4C8E-9D25-6510691D53D9}" dt="2023-06-23T21:04:09.179" v="210" actId="478"/>
          <ac:spMkLst>
            <pc:docMk/>
            <pc:sldMk cId="3214409637" sldId="2627"/>
            <ac:spMk id="6" creationId="{0ABE2CEF-1BF8-528D-671F-4CC9C66AC824}"/>
          </ac:spMkLst>
        </pc:spChg>
        <pc:spChg chg="add mod">
          <ac:chgData name="Fabio Tempelmann" userId="40073039d7e0f928" providerId="LiveId" clId="{F665C50D-975B-4C8E-9D25-6510691D53D9}" dt="2023-06-23T21:04:09.286" v="211"/>
          <ac:spMkLst>
            <pc:docMk/>
            <pc:sldMk cId="3214409637" sldId="2627"/>
            <ac:spMk id="8" creationId="{48D37524-BA9C-8602-E56D-A866B51BF49A}"/>
          </ac:spMkLst>
        </pc:spChg>
        <pc:spChg chg="add mod">
          <ac:chgData name="Fabio Tempelmann" userId="40073039d7e0f928" providerId="LiveId" clId="{F665C50D-975B-4C8E-9D25-6510691D53D9}" dt="2023-06-23T21:04:09.286" v="211"/>
          <ac:spMkLst>
            <pc:docMk/>
            <pc:sldMk cId="3214409637" sldId="2627"/>
            <ac:spMk id="9" creationId="{49D405BC-4986-E899-7F72-613984F849B7}"/>
          </ac:spMkLst>
        </pc:spChg>
      </pc:sldChg>
      <pc:sldChg chg="addSp delSp modSp mod modClrScheme chgLayout">
        <pc:chgData name="Fabio Tempelmann" userId="40073039d7e0f928" providerId="LiveId" clId="{F665C50D-975B-4C8E-9D25-6510691D53D9}" dt="2023-06-23T21:51:56.735" v="1895" actId="12"/>
        <pc:sldMkLst>
          <pc:docMk/>
          <pc:sldMk cId="2796266219" sldId="2628"/>
        </pc:sldMkLst>
        <pc:spChg chg="mod ord">
          <ac:chgData name="Fabio Tempelmann" userId="40073039d7e0f928" providerId="LiveId" clId="{F665C50D-975B-4C8E-9D25-6510691D53D9}" dt="2023-06-23T21:28:56.852" v="968" actId="20577"/>
          <ac:spMkLst>
            <pc:docMk/>
            <pc:sldMk cId="2796266219" sldId="2628"/>
            <ac:spMk id="2" creationId="{01486E2A-C247-3160-B817-67EE75DE56CF}"/>
          </ac:spMkLst>
        </pc:spChg>
        <pc:spChg chg="mod ord">
          <ac:chgData name="Fabio Tempelmann" userId="40073039d7e0f928" providerId="LiveId" clId="{F665C50D-975B-4C8E-9D25-6510691D53D9}" dt="2023-06-23T21:51:56.735" v="1895" actId="12"/>
          <ac:spMkLst>
            <pc:docMk/>
            <pc:sldMk cId="2796266219" sldId="2628"/>
            <ac:spMk id="3" creationId="{6F64FA42-FE78-27EC-0385-342482F0FD99}"/>
          </ac:spMkLst>
        </pc:spChg>
        <pc:spChg chg="mod ord">
          <ac:chgData name="Fabio Tempelmann" userId="40073039d7e0f928" providerId="LiveId" clId="{F665C50D-975B-4C8E-9D25-6510691D53D9}" dt="2023-06-23T21:28:54.303" v="966" actId="700"/>
          <ac:spMkLst>
            <pc:docMk/>
            <pc:sldMk cId="2796266219" sldId="2628"/>
            <ac:spMk id="4" creationId="{C22CFFD0-F5C0-EDBD-2918-9C364B829407}"/>
          </ac:spMkLst>
        </pc:spChg>
        <pc:spChg chg="del">
          <ac:chgData name="Fabio Tempelmann" userId="40073039d7e0f928" providerId="LiveId" clId="{F665C50D-975B-4C8E-9D25-6510691D53D9}" dt="2023-06-23T21:04:06.009" v="208" actId="478"/>
          <ac:spMkLst>
            <pc:docMk/>
            <pc:sldMk cId="2796266219" sldId="2628"/>
            <ac:spMk id="5" creationId="{3C2765EF-1C21-4165-6D8C-865C0DC89D5A}"/>
          </ac:spMkLst>
        </pc:spChg>
        <pc:spChg chg="del">
          <ac:chgData name="Fabio Tempelmann" userId="40073039d7e0f928" providerId="LiveId" clId="{F665C50D-975B-4C8E-9D25-6510691D53D9}" dt="2023-06-23T21:04:06.009" v="208" actId="478"/>
          <ac:spMkLst>
            <pc:docMk/>
            <pc:sldMk cId="2796266219" sldId="2628"/>
            <ac:spMk id="6" creationId="{D8D2F972-E297-6879-3F05-DD87233163DB}"/>
          </ac:spMkLst>
        </pc:spChg>
        <pc:spChg chg="mod ord">
          <ac:chgData name="Fabio Tempelmann" userId="40073039d7e0f928" providerId="LiveId" clId="{F665C50D-975B-4C8E-9D25-6510691D53D9}" dt="2023-06-23T21:28:54.303" v="966" actId="700"/>
          <ac:spMkLst>
            <pc:docMk/>
            <pc:sldMk cId="2796266219" sldId="2628"/>
            <ac:spMk id="7" creationId="{EED74A65-10E6-39AC-2FF0-0BF43EB57A0A}"/>
          </ac:spMkLst>
        </pc:spChg>
        <pc:spChg chg="add mod ord">
          <ac:chgData name="Fabio Tempelmann" userId="40073039d7e0f928" providerId="LiveId" clId="{F665C50D-975B-4C8E-9D25-6510691D53D9}" dt="2023-06-23T21:28:54.303" v="966" actId="700"/>
          <ac:spMkLst>
            <pc:docMk/>
            <pc:sldMk cId="2796266219" sldId="2628"/>
            <ac:spMk id="8" creationId="{6C3C71EF-71EF-760B-FEBB-F3E356C94BD6}"/>
          </ac:spMkLst>
        </pc:spChg>
        <pc:spChg chg="add mod ord">
          <ac:chgData name="Fabio Tempelmann" userId="40073039d7e0f928" providerId="LiveId" clId="{F665C50D-975B-4C8E-9D25-6510691D53D9}" dt="2023-06-23T21:28:54.303" v="966" actId="700"/>
          <ac:spMkLst>
            <pc:docMk/>
            <pc:sldMk cId="2796266219" sldId="2628"/>
            <ac:spMk id="9" creationId="{009489FF-9381-5A9C-F8F4-52E3F96DFE98}"/>
          </ac:spMkLst>
        </pc:spChg>
        <pc:spChg chg="add del mod ord">
          <ac:chgData name="Fabio Tempelmann" userId="40073039d7e0f928" providerId="LiveId" clId="{F665C50D-975B-4C8E-9D25-6510691D53D9}" dt="2023-06-23T21:28:54.303" v="966" actId="700"/>
          <ac:spMkLst>
            <pc:docMk/>
            <pc:sldMk cId="2796266219" sldId="2628"/>
            <ac:spMk id="10" creationId="{AF530827-1EBD-D8B6-D05E-ADEC52DBBB20}"/>
          </ac:spMkLst>
        </pc:spChg>
        <pc:spChg chg="add del mod ord">
          <ac:chgData name="Fabio Tempelmann" userId="40073039d7e0f928" providerId="LiveId" clId="{F665C50D-975B-4C8E-9D25-6510691D53D9}" dt="2023-06-23T21:28:54.061" v="965" actId="700"/>
          <ac:spMkLst>
            <pc:docMk/>
            <pc:sldMk cId="2796266219" sldId="2628"/>
            <ac:spMk id="11" creationId="{EB457122-9840-6A9B-EDD6-CBEFC274E837}"/>
          </ac:spMkLst>
        </pc:spChg>
        <pc:spChg chg="add del mod ord">
          <ac:chgData name="Fabio Tempelmann" userId="40073039d7e0f928" providerId="LiveId" clId="{F665C50D-975B-4C8E-9D25-6510691D53D9}" dt="2023-06-23T21:28:54.061" v="965" actId="700"/>
          <ac:spMkLst>
            <pc:docMk/>
            <pc:sldMk cId="2796266219" sldId="2628"/>
            <ac:spMk id="12" creationId="{56051C8C-6F1D-603E-A922-FD3D26777247}"/>
          </ac:spMkLst>
        </pc:spChg>
        <pc:spChg chg="add del mod ord">
          <ac:chgData name="Fabio Tempelmann" userId="40073039d7e0f928" providerId="LiveId" clId="{F665C50D-975B-4C8E-9D25-6510691D53D9}" dt="2023-06-23T21:28:54.061" v="965" actId="700"/>
          <ac:spMkLst>
            <pc:docMk/>
            <pc:sldMk cId="2796266219" sldId="2628"/>
            <ac:spMk id="13" creationId="{D5D03081-4965-F1AE-6B04-A40157D3B345}"/>
          </ac:spMkLst>
        </pc:spChg>
        <pc:spChg chg="add mod">
          <ac:chgData name="Fabio Tempelmann" userId="40073039d7e0f928" providerId="LiveId" clId="{F665C50D-975B-4C8E-9D25-6510691D53D9}" dt="2023-06-23T21:51:01.343" v="1888" actId="14100"/>
          <ac:spMkLst>
            <pc:docMk/>
            <pc:sldMk cId="2796266219" sldId="2628"/>
            <ac:spMk id="17" creationId="{E68F3FD5-9D48-BFAC-8CA7-2E6DFB481572}"/>
          </ac:spMkLst>
        </pc:spChg>
        <pc:picChg chg="add mod">
          <ac:chgData name="Fabio Tempelmann" userId="40073039d7e0f928" providerId="LiveId" clId="{F665C50D-975B-4C8E-9D25-6510691D53D9}" dt="2023-06-23T21:50:24.820" v="1871" actId="14100"/>
          <ac:picMkLst>
            <pc:docMk/>
            <pc:sldMk cId="2796266219" sldId="2628"/>
            <ac:picMk id="15" creationId="{98FEE046-2DE5-1655-EBE6-9D9A7347B062}"/>
          </ac:picMkLst>
        </pc:picChg>
      </pc:sldChg>
      <pc:sldChg chg="delSp modSp mod">
        <pc:chgData name="Fabio Tempelmann" userId="40073039d7e0f928" providerId="LiveId" clId="{F665C50D-975B-4C8E-9D25-6510691D53D9}" dt="2023-06-23T21:51:21.437" v="1893" actId="6549"/>
        <pc:sldMkLst>
          <pc:docMk/>
          <pc:sldMk cId="757730859" sldId="2629"/>
        </pc:sldMkLst>
        <pc:spChg chg="mod">
          <ac:chgData name="Fabio Tempelmann" userId="40073039d7e0f928" providerId="LiveId" clId="{F665C50D-975B-4C8E-9D25-6510691D53D9}" dt="2023-06-23T21:14:36.466" v="352" actId="20577"/>
          <ac:spMkLst>
            <pc:docMk/>
            <pc:sldMk cId="757730859" sldId="2629"/>
            <ac:spMk id="2" creationId="{0806712C-7DCB-7E88-14F9-69586BA49586}"/>
          </ac:spMkLst>
        </pc:spChg>
        <pc:spChg chg="mod">
          <ac:chgData name="Fabio Tempelmann" userId="40073039d7e0f928" providerId="LiveId" clId="{F665C50D-975B-4C8E-9D25-6510691D53D9}" dt="2023-06-23T21:51:21.437" v="1893" actId="6549"/>
          <ac:spMkLst>
            <pc:docMk/>
            <pc:sldMk cId="757730859" sldId="2629"/>
            <ac:spMk id="3" creationId="{5F67973C-AD49-B2CD-4085-E4CE4174BD02}"/>
          </ac:spMkLst>
        </pc:spChg>
        <pc:spChg chg="del">
          <ac:chgData name="Fabio Tempelmann" userId="40073039d7e0f928" providerId="LiveId" clId="{F665C50D-975B-4C8E-9D25-6510691D53D9}" dt="2023-06-23T21:14:37.985" v="353" actId="478"/>
          <ac:spMkLst>
            <pc:docMk/>
            <pc:sldMk cId="757730859" sldId="2629"/>
            <ac:spMk id="4" creationId="{A1259A02-5CEC-9A0E-78E1-AB5A889CFBCB}"/>
          </ac:spMkLst>
        </pc:spChg>
        <pc:spChg chg="mod">
          <ac:chgData name="Fabio Tempelmann" userId="40073039d7e0f928" providerId="LiveId" clId="{F665C50D-975B-4C8E-9D25-6510691D53D9}" dt="2023-06-23T21:03:37.529" v="195" actId="20577"/>
          <ac:spMkLst>
            <pc:docMk/>
            <pc:sldMk cId="757730859" sldId="2629"/>
            <ac:spMk id="6" creationId="{EDC8DDC0-26D9-EA52-04F5-6E3AEB217936}"/>
          </ac:spMkLst>
        </pc:spChg>
      </pc:sldChg>
      <pc:sldChg chg="addSp delSp modSp add mod">
        <pc:chgData name="Fabio Tempelmann" userId="40073039d7e0f928" providerId="LiveId" clId="{F665C50D-975B-4C8E-9D25-6510691D53D9}" dt="2023-06-23T21:59:10.052" v="2319" actId="1076"/>
        <pc:sldMkLst>
          <pc:docMk/>
          <pc:sldMk cId="1655538915" sldId="2630"/>
        </pc:sldMkLst>
        <pc:spChg chg="mod">
          <ac:chgData name="Fabio Tempelmann" userId="40073039d7e0f928" providerId="LiveId" clId="{F665C50D-975B-4C8E-9D25-6510691D53D9}" dt="2023-06-23T21:50:06.553" v="1868" actId="12"/>
          <ac:spMkLst>
            <pc:docMk/>
            <pc:sldMk cId="1655538915" sldId="2630"/>
            <ac:spMk id="3" creationId="{6F64FA42-FE78-27EC-0385-342482F0FD99}"/>
          </ac:spMkLst>
        </pc:spChg>
        <pc:spChg chg="mod">
          <ac:chgData name="Fabio Tempelmann" userId="40073039d7e0f928" providerId="LiveId" clId="{F665C50D-975B-4C8E-9D25-6510691D53D9}" dt="2023-06-23T21:43:31.667" v="1558" actId="20577"/>
          <ac:spMkLst>
            <pc:docMk/>
            <pc:sldMk cId="1655538915" sldId="2630"/>
            <ac:spMk id="4" creationId="{C22CFFD0-F5C0-EDBD-2918-9C364B829407}"/>
          </ac:spMkLst>
        </pc:spChg>
        <pc:spChg chg="del">
          <ac:chgData name="Fabio Tempelmann" userId="40073039d7e0f928" providerId="LiveId" clId="{F665C50D-975B-4C8E-9D25-6510691D53D9}" dt="2023-06-23T21:45:01.126" v="1600" actId="478"/>
          <ac:spMkLst>
            <pc:docMk/>
            <pc:sldMk cId="1655538915" sldId="2630"/>
            <ac:spMk id="17" creationId="{E68F3FD5-9D48-BFAC-8CA7-2E6DFB481572}"/>
          </ac:spMkLst>
        </pc:spChg>
        <pc:picChg chg="add mod">
          <ac:chgData name="Fabio Tempelmann" userId="40073039d7e0f928" providerId="LiveId" clId="{F665C50D-975B-4C8E-9D25-6510691D53D9}" dt="2023-06-23T21:59:10.052" v="2319" actId="1076"/>
          <ac:picMkLst>
            <pc:docMk/>
            <pc:sldMk cId="1655538915" sldId="2630"/>
            <ac:picMk id="5" creationId="{2843426E-BDD9-9272-40D1-AD83C7C5C515}"/>
          </ac:picMkLst>
        </pc:picChg>
        <pc:picChg chg="del">
          <ac:chgData name="Fabio Tempelmann" userId="40073039d7e0f928" providerId="LiveId" clId="{F665C50D-975B-4C8E-9D25-6510691D53D9}" dt="2023-06-23T21:43:21.809" v="1551" actId="478"/>
          <ac:picMkLst>
            <pc:docMk/>
            <pc:sldMk cId="1655538915" sldId="2630"/>
            <ac:picMk id="15" creationId="{98FEE046-2DE5-1655-EBE6-9D9A7347B062}"/>
          </ac:picMkLst>
        </pc:picChg>
      </pc:sldChg>
      <pc:sldChg chg="add del">
        <pc:chgData name="Fabio Tempelmann" userId="40073039d7e0f928" providerId="LiveId" clId="{F665C50D-975B-4C8E-9D25-6510691D53D9}" dt="2023-06-23T21:43:15.218" v="1549"/>
        <pc:sldMkLst>
          <pc:docMk/>
          <pc:sldMk cId="3649873600" sldId="2630"/>
        </pc:sldMkLst>
      </pc:sldChg>
      <pc:sldMasterChg chg="modSp mod modSldLayout">
        <pc:chgData name="Fabio Tempelmann" userId="40073039d7e0f928" providerId="LiveId" clId="{F665C50D-975B-4C8E-9D25-6510691D53D9}" dt="2023-06-23T21:03:50.693" v="207" actId="20577"/>
        <pc:sldMasterMkLst>
          <pc:docMk/>
          <pc:sldMasterMk cId="902298323" sldId="2147483648"/>
        </pc:sldMasterMkLst>
        <pc:spChg chg="mod">
          <ac:chgData name="Fabio Tempelmann" userId="40073039d7e0f928" providerId="LiveId" clId="{F665C50D-975B-4C8E-9D25-6510691D53D9}" dt="2023-06-23T21:03:46.008" v="199" actId="20577"/>
          <ac:spMkLst>
            <pc:docMk/>
            <pc:sldMasterMk cId="902298323" sldId="2147483648"/>
            <ac:spMk id="4" creationId="{CC50694B-33D5-45A5-B9F0-605F670D5E36}"/>
          </ac:spMkLst>
        </pc:spChg>
        <pc:sldLayoutChg chg="modSp mod">
          <pc:chgData name="Fabio Tempelmann" userId="40073039d7e0f928" providerId="LiveId" clId="{F665C50D-975B-4C8E-9D25-6510691D53D9}" dt="2023-06-23T21:03:50.693" v="207" actId="20577"/>
          <pc:sldLayoutMkLst>
            <pc:docMk/>
            <pc:sldMasterMk cId="902298323" sldId="2147483648"/>
            <pc:sldLayoutMk cId="3435457391" sldId="2147483650"/>
          </pc:sldLayoutMkLst>
          <pc:spChg chg="mod">
            <ac:chgData name="Fabio Tempelmann" userId="40073039d7e0f928" providerId="LiveId" clId="{F665C50D-975B-4C8E-9D25-6510691D53D9}" dt="2023-06-23T21:03:50.693" v="207" actId="20577"/>
            <ac:spMkLst>
              <pc:docMk/>
              <pc:sldMasterMk cId="902298323" sldId="2147483648"/>
              <pc:sldLayoutMk cId="3435457391" sldId="2147483650"/>
              <ac:spMk id="5" creationId="{ACAE5B8C-402C-92B2-CD33-E91ABD8DEB75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25.10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0815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88C6A7E3-61A0-F19A-B67A-B9796FFA64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ACAE5B8C-402C-92B2-CD33-E91ABD8DEB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09.07.2024</a:t>
            </a:r>
            <a:endParaRPr lang="de-DE" sz="900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44D7BA60-8252-3223-6DEB-6ADCCE496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f-Supervised Learning from Images with a Joint-Embedding Predictive Archite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09.07.2024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f-Supervised Learning from Images with a Joint-Embedding Predictive Architectur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5.jpeg"/><Relationship Id="rId18" Type="http://schemas.openxmlformats.org/officeDocument/2006/relationships/image" Target="../media/image10.png"/><Relationship Id="rId26" Type="http://schemas.openxmlformats.org/officeDocument/2006/relationships/image" Target="../media/image18.png"/><Relationship Id="rId3" Type="http://schemas.openxmlformats.org/officeDocument/2006/relationships/tags" Target="../tags/tag8.xml"/><Relationship Id="rId21" Type="http://schemas.openxmlformats.org/officeDocument/2006/relationships/image" Target="../media/image13.svg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9.svg"/><Relationship Id="rId25" Type="http://schemas.openxmlformats.org/officeDocument/2006/relationships/image" Target="../media/image17.svg"/><Relationship Id="rId2" Type="http://schemas.openxmlformats.org/officeDocument/2006/relationships/tags" Target="../tags/tag7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29" Type="http://schemas.openxmlformats.org/officeDocument/2006/relationships/image" Target="../media/image21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1.xml"/><Relationship Id="rId24" Type="http://schemas.openxmlformats.org/officeDocument/2006/relationships/image" Target="../media/image16.png"/><Relationship Id="rId5" Type="http://schemas.openxmlformats.org/officeDocument/2006/relationships/tags" Target="../tags/tag10.xml"/><Relationship Id="rId15" Type="http://schemas.openxmlformats.org/officeDocument/2006/relationships/image" Target="../media/image7.svg"/><Relationship Id="rId23" Type="http://schemas.openxmlformats.org/officeDocument/2006/relationships/image" Target="../media/image15.svg"/><Relationship Id="rId28" Type="http://schemas.openxmlformats.org/officeDocument/2006/relationships/image" Target="../media/image20.png"/><Relationship Id="rId10" Type="http://schemas.openxmlformats.org/officeDocument/2006/relationships/tags" Target="../tags/tag15.xml"/><Relationship Id="rId19" Type="http://schemas.openxmlformats.org/officeDocument/2006/relationships/image" Target="../media/image11.svg"/><Relationship Id="rId31" Type="http://schemas.openxmlformats.org/officeDocument/2006/relationships/image" Target="../media/image23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6.png"/><Relationship Id="rId22" Type="http://schemas.openxmlformats.org/officeDocument/2006/relationships/image" Target="../media/image14.png"/><Relationship Id="rId27" Type="http://schemas.openxmlformats.org/officeDocument/2006/relationships/image" Target="../media/image19.svg"/><Relationship Id="rId30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8EF35591-53F7-D540-A668-B601135BC93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0" name="Titel 29">
            <a:extLst>
              <a:ext uri="{FF2B5EF4-FFF2-40B4-BE49-F238E27FC236}">
                <a16:creationId xmlns:a16="http://schemas.microsoft.com/office/drawing/2014/main" id="{ED093444-DE53-4E37-8555-A53A8282CB8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Social Signal</a:t>
            </a:r>
            <a:br>
              <a:rPr lang="en-US" dirty="0"/>
            </a:br>
            <a:r>
              <a:rPr lang="en-US" dirty="0"/>
              <a:t>Processing Lab</a:t>
            </a:r>
          </a:p>
        </p:txBody>
      </p:sp>
      <p:sp>
        <p:nvSpPr>
          <p:cNvPr id="31" name="Untertitel 30">
            <a:extLst>
              <a:ext uri="{FF2B5EF4-FFF2-40B4-BE49-F238E27FC236}">
                <a16:creationId xmlns:a16="http://schemas.microsoft.com/office/drawing/2014/main" id="{792BDCAC-2CEC-4E04-B0A9-42B42D4DD1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3924164"/>
            <a:ext cx="5863676" cy="1495123"/>
          </a:xfrm>
        </p:spPr>
        <p:txBody>
          <a:bodyPr/>
          <a:lstStyle/>
          <a:p>
            <a:r>
              <a:rPr lang="de-DE" dirty="0"/>
              <a:t>Abschlusspräsentation</a:t>
            </a:r>
          </a:p>
          <a:p>
            <a:endParaRPr lang="de-DE" dirty="0"/>
          </a:p>
          <a:p>
            <a:r>
              <a:rPr lang="de-DE" dirty="0"/>
              <a:t>Marcel Lieb, Jonas Rubeck, Tempelmann Fabio</a:t>
            </a:r>
          </a:p>
          <a:p>
            <a:r>
              <a:rPr lang="de-DE" dirty="0"/>
              <a:t>25.10.2024</a:t>
            </a:r>
          </a:p>
        </p:txBody>
      </p:sp>
      <p:pic>
        <p:nvPicPr>
          <p:cNvPr id="17" name="Logo_Basis_neg." hidden="1">
            <a:extLst>
              <a:ext uri="{FF2B5EF4-FFF2-40B4-BE49-F238E27FC236}">
                <a16:creationId xmlns:a16="http://schemas.microsoft.com/office/drawing/2014/main" id="{0526EE49-488A-47D8-B5A0-2E62A1E401F1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FAI_neg.">
            <a:extLst>
              <a:ext uri="{FF2B5EF4-FFF2-40B4-BE49-F238E27FC236}">
                <a16:creationId xmlns:a16="http://schemas.microsoft.com/office/drawing/2014/main" id="{DD7AAB05-EAE0-4332-8150-6FC48B688E3E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JUF_neg." hidden="1">
            <a:extLst>
              <a:ext uri="{FF2B5EF4-FFF2-40B4-BE49-F238E27FC236}">
                <a16:creationId xmlns:a16="http://schemas.microsoft.com/office/drawing/2014/main" id="{AA95A6B2-F2DD-403E-8BAD-DA09DDC86C39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KTF_neg." hidden="1">
            <a:extLst>
              <a:ext uri="{FF2B5EF4-FFF2-40B4-BE49-F238E27FC236}">
                <a16:creationId xmlns:a16="http://schemas.microsoft.com/office/drawing/2014/main" id="{6C3DC3FD-8DEC-429F-A966-23A0FD7B61A7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MEF_neg." hidden="1">
            <a:extLst>
              <a:ext uri="{FF2B5EF4-FFF2-40B4-BE49-F238E27FC236}">
                <a16:creationId xmlns:a16="http://schemas.microsoft.com/office/drawing/2014/main" id="{C0B7453E-57A7-4694-8B44-5701E510417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MNTF_neg." hidden="1">
            <a:extLst>
              <a:ext uri="{FF2B5EF4-FFF2-40B4-BE49-F238E27FC236}">
                <a16:creationId xmlns:a16="http://schemas.microsoft.com/office/drawing/2014/main" id="{E764775B-3AF0-49BB-BF94-2DA79B44DA6C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3" name="Logo_PHF_neg." hidden="1">
            <a:extLst>
              <a:ext uri="{FF2B5EF4-FFF2-40B4-BE49-F238E27FC236}">
                <a16:creationId xmlns:a16="http://schemas.microsoft.com/office/drawing/2014/main" id="{39669742-19D2-4299-91E3-BBD9ABAC90A4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5" name="Logo_PSF_neg." hidden="1">
            <a:extLst>
              <a:ext uri="{FF2B5EF4-FFF2-40B4-BE49-F238E27FC236}">
                <a16:creationId xmlns:a16="http://schemas.microsoft.com/office/drawing/2014/main" id="{51E4951F-A505-45D5-B7C5-CF837F26D04B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6" name="Logo_WWF_neg." hidden="1">
            <a:extLst>
              <a:ext uri="{FF2B5EF4-FFF2-40B4-BE49-F238E27FC236}">
                <a16:creationId xmlns:a16="http://schemas.microsoft.com/office/drawing/2014/main" id="{1EB51D6F-ACF3-4AF5-83B7-06ED366D0B54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9001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B23B1-9929-DE20-C1E9-C6504A2A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e Features Hinzufü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671970-FB67-EBF7-DFBD-6BA82F0148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 err="1"/>
              <a:t>audeering</a:t>
            </a:r>
            <a:r>
              <a:rPr lang="de-DE" dirty="0"/>
              <a:t>/wav2vec2-large-robust-12-ft-emotion-msp-dim von </a:t>
            </a:r>
            <a:r>
              <a:rPr lang="de-DE" dirty="0" err="1"/>
              <a:t>Huggingface</a:t>
            </a:r>
            <a:endParaRPr lang="de-DE" dirty="0"/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Großes, stabiles Model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1024 Hidden </a:t>
            </a:r>
            <a:r>
              <a:rPr lang="de-DE" dirty="0" err="1"/>
              <a:t>states</a:t>
            </a:r>
            <a:r>
              <a:rPr lang="de-DE" dirty="0"/>
              <a:t> 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Lange Rechenzeit zum ausgeben der Features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Berechnung auf Grafikkarte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Im Anschluss Training eines GRU Netzwerks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Nur ein Score von 0,57 auf </a:t>
            </a:r>
            <a:r>
              <a:rPr lang="de-DE" dirty="0" err="1"/>
              <a:t>Develop</a:t>
            </a:r>
            <a:r>
              <a:rPr lang="de-DE" dirty="0"/>
              <a:t> Datensatz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Nur Trainiert auf Englischen eingaben 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A7EE12-4B17-840A-D622-4451A622E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Audi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92534-2148-EBC7-4242-E667C7A0B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48EF354-A6D6-2F00-D990-FC71DD341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   25.10.2024</a:t>
            </a:r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568E62-D025-BA42-4371-39A6ACE68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61754A0-5E43-3818-9F4E-FA946C69CE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7126" y="1548427"/>
            <a:ext cx="904875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773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B23B1-9929-DE20-C1E9-C6504A2A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e Features Hinzufü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671970-FB67-EBF7-DFBD-6BA82F0148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 err="1"/>
              <a:t>keras-io</a:t>
            </a:r>
            <a:r>
              <a:rPr lang="de-DE" dirty="0"/>
              <a:t>/video-</a:t>
            </a:r>
            <a:r>
              <a:rPr lang="de-DE" dirty="0" err="1"/>
              <a:t>classification</a:t>
            </a:r>
            <a:r>
              <a:rPr lang="de-DE" dirty="0"/>
              <a:t>-</a:t>
            </a:r>
            <a:r>
              <a:rPr lang="de-DE" dirty="0" err="1"/>
              <a:t>cnn-rnn</a:t>
            </a:r>
            <a:r>
              <a:rPr lang="de-DE" dirty="0"/>
              <a:t> von </a:t>
            </a:r>
            <a:r>
              <a:rPr lang="de-DE" dirty="0" err="1"/>
              <a:t>Huggingface</a:t>
            </a:r>
            <a:endParaRPr lang="de-DE" dirty="0"/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Mit Keras</a:t>
            </a:r>
          </a:p>
          <a:p>
            <a:pPr marL="501750" lvl="1" indent="-285750"/>
            <a:r>
              <a:rPr lang="de-DE" dirty="0"/>
              <a:t>Bilder Laden</a:t>
            </a:r>
          </a:p>
          <a:p>
            <a:pPr marL="501750" lvl="1" indent="-285750"/>
            <a:r>
              <a:rPr lang="de-DE" dirty="0"/>
              <a:t>Ausschneiden</a:t>
            </a:r>
          </a:p>
          <a:p>
            <a:pPr marL="501750" lvl="1" indent="-285750"/>
            <a:r>
              <a:rPr lang="de-DE" dirty="0"/>
              <a:t>Größe anpassen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Keras auf GPU hat nicht funktioniert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Viel zu langsam zum Features Extrahieren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Performance auf Teildatensatz nicht ausreichend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A7EE12-4B17-840A-D622-4451A622E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Vide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92534-2148-EBC7-4242-E667C7A0B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48EF354-A6D6-2F00-D990-FC71DD341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   25.10.2024</a:t>
            </a:r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568E62-D025-BA42-4371-39A6ACE68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79163E0-432F-DDC5-7EB9-B6FDD01325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7126" y="1548427"/>
            <a:ext cx="904875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2892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B23B1-9929-DE20-C1E9-C6504A2A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yperparametersuch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671970-FB67-EBF7-DFBD-6BA82F0148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 err="1"/>
              <a:t>Optuna</a:t>
            </a:r>
            <a:endParaRPr lang="de-DE" dirty="0"/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 Training verteilt über alle Laptops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Koordiniert über dezentrale Datenbank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Suche auf einzelnen Features</a:t>
            </a:r>
          </a:p>
          <a:p>
            <a:pPr marL="501750" lvl="1" indent="-285750"/>
            <a:r>
              <a:rPr lang="de-DE" dirty="0"/>
              <a:t>Deutliche Verbesserung auf Development-Datensatz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„Große“ unterschiede zwischen Development- und Test-Datensatz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 err="1"/>
              <a:t>Overfitting</a:t>
            </a:r>
            <a:r>
              <a:rPr lang="de-DE" dirty="0"/>
              <a:t> auf Development-Datensatz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Cross-Validation als Lösung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A7EE12-4B17-840A-D622-4451A622E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92534-2148-EBC7-4242-E667C7A0B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48EF354-A6D6-2F00-D990-FC71DD341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   25.10.2024</a:t>
            </a:r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568E62-D025-BA42-4371-39A6ACE68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851600A-9BAD-E629-25C9-5980028DE1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3001" y="1749041"/>
            <a:ext cx="3429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530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B23B1-9929-DE20-C1E9-C6504A2A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yperparametersuche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A7EE12-4B17-840A-D622-4451A622E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Live Dem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92534-2148-EBC7-4242-E667C7A0B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48EF354-A6D6-2F00-D990-FC71DD341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   25.10.2024</a:t>
            </a:r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568E62-D025-BA42-4371-39A6ACE68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194E8DF-4402-85D2-A0D9-75DDFE266C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9" r="509" b="-1"/>
          <a:stretch/>
        </p:blipFill>
        <p:spPr>
          <a:xfrm>
            <a:off x="1574433" y="1712328"/>
            <a:ext cx="8997084" cy="4661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5873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B23B1-9929-DE20-C1E9-C6504A2A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sion und Ensemb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671970-FB67-EBF7-DFBD-6BA82F0148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Cross Validation</a:t>
            </a:r>
          </a:p>
          <a:p>
            <a:pPr marL="717750" lvl="2" indent="-285750"/>
            <a:r>
              <a:rPr lang="de-DE" dirty="0"/>
              <a:t>Test score 0.603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Late Fusion</a:t>
            </a:r>
          </a:p>
          <a:p>
            <a:pPr marL="501750" lvl="1" indent="-285750"/>
            <a:r>
              <a:rPr lang="de-DE" dirty="0"/>
              <a:t>Fusion von </a:t>
            </a:r>
            <a:r>
              <a:rPr lang="de-DE" dirty="0" err="1"/>
              <a:t>vit_face</a:t>
            </a:r>
            <a:r>
              <a:rPr lang="de-DE" dirty="0"/>
              <a:t>, </a:t>
            </a:r>
            <a:r>
              <a:rPr lang="de-DE" dirty="0" err="1"/>
              <a:t>xHuBert</a:t>
            </a:r>
            <a:r>
              <a:rPr lang="de-DE" dirty="0"/>
              <a:t>, </a:t>
            </a:r>
            <a:r>
              <a:rPr lang="de-DE" dirty="0" err="1"/>
              <a:t>faus</a:t>
            </a:r>
            <a:r>
              <a:rPr lang="de-DE" dirty="0"/>
              <a:t>, bert32</a:t>
            </a:r>
          </a:p>
          <a:p>
            <a:pPr marL="717750" lvl="2" indent="-285750"/>
            <a:r>
              <a:rPr lang="de-DE" dirty="0"/>
              <a:t>Test score 0.714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Intermediate Fusion</a:t>
            </a:r>
          </a:p>
          <a:p>
            <a:pPr marL="501750" lvl="1" indent="-285750"/>
            <a:r>
              <a:rPr lang="de-DE" dirty="0"/>
              <a:t>fusion_vit-face_ber32:</a:t>
            </a:r>
          </a:p>
          <a:p>
            <a:pPr marL="717750" lvl="2" indent="-285750"/>
            <a:r>
              <a:rPr lang="de-DE" dirty="0"/>
              <a:t>Dev score 0.816</a:t>
            </a:r>
          </a:p>
          <a:p>
            <a:pPr marL="717750" lvl="2" indent="-285750"/>
            <a:r>
              <a:rPr lang="de-DE" dirty="0"/>
              <a:t>Test score 0.658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Ensemble</a:t>
            </a:r>
          </a:p>
          <a:p>
            <a:pPr marL="501750" lvl="1" indent="-285750"/>
            <a:r>
              <a:rPr lang="de-DE" dirty="0"/>
              <a:t>Mit Bert32 oder </a:t>
            </a:r>
            <a:r>
              <a:rPr lang="de-DE" dirty="0" err="1"/>
              <a:t>vit_face</a:t>
            </a:r>
            <a:endParaRPr lang="de-DE" dirty="0"/>
          </a:p>
          <a:p>
            <a:pPr marL="717750" lvl="2" indent="-285750"/>
            <a:r>
              <a:rPr lang="de-DE" dirty="0"/>
              <a:t>Test score 0.670 und 0.694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A7EE12-4B17-840A-D622-4451A622E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Ergebniss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92534-2148-EBC7-4242-E667C7A0B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48EF354-A6D6-2F00-D990-FC71DD341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   25.10.2024</a:t>
            </a:r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568E62-D025-BA42-4371-39A6ACE68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</p:spTree>
    <p:extLst>
      <p:ext uri="{BB962C8B-B14F-4D97-AF65-F5344CB8AC3E}">
        <p14:creationId xmlns:p14="http://schemas.microsoft.com/office/powerpoint/2010/main" val="4136666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4D77CB7-BE00-7791-6F5A-176D4C52C5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ocial Signal</a:t>
            </a:r>
            <a:br>
              <a:rPr lang="en-US" dirty="0"/>
            </a:br>
            <a:r>
              <a:rPr lang="en-US" dirty="0"/>
              <a:t>Processing Lab</a:t>
            </a:r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A137844-A55F-2753-5E77-F96D579BA6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Final Präsentation</a:t>
            </a:r>
          </a:p>
          <a:p>
            <a:endParaRPr lang="de-DE" dirty="0"/>
          </a:p>
          <a:p>
            <a:r>
              <a:rPr lang="de-DE" dirty="0"/>
              <a:t>Marcel Lieb, Jonas Rubeck, Tempelmann Fabio</a:t>
            </a:r>
          </a:p>
          <a:p>
            <a:r>
              <a:rPr lang="de-DE" dirty="0"/>
              <a:t>24.10.2024</a:t>
            </a:r>
          </a:p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C9BD91-3541-5FC3-C4DE-AA8509C0C42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2730500"/>
            <a:ext cx="4429125" cy="16256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9875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Med" id="{72429FFB-2FE4-A44A-BDFE-3F07E7A0FD15}" vid="{96980407-6B6E-EB45-8E9F-B6277BF5B43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asentationsmaster_vorlage_fai</Template>
  <TotalTime>0</TotalTime>
  <Words>218</Words>
  <Application>Microsoft Office PowerPoint</Application>
  <PresentationFormat>Breitbild</PresentationFormat>
  <Paragraphs>72</Paragraphs>
  <Slides>7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1" baseType="lpstr">
      <vt:lpstr>Arial</vt:lpstr>
      <vt:lpstr>Symbol</vt:lpstr>
      <vt:lpstr>Wingdings</vt:lpstr>
      <vt:lpstr>Office</vt:lpstr>
      <vt:lpstr>Social Signal Processing Lab</vt:lpstr>
      <vt:lpstr>Neue Features Hinzufügen</vt:lpstr>
      <vt:lpstr>Neue Features Hinzufügen</vt:lpstr>
      <vt:lpstr>Hyperparametersuche</vt:lpstr>
      <vt:lpstr>Hyperparametersuche</vt:lpstr>
      <vt:lpstr>Fusion und Ensemble</vt:lpstr>
      <vt:lpstr>Social Signal Processing Lab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ein- oder mehrzeilig</dc:title>
  <dc:creator>Fabio Tempelmann</dc:creator>
  <cp:lastModifiedBy>153849@uniaugsburg.onmicrosoft.com</cp:lastModifiedBy>
  <cp:revision>13</cp:revision>
  <dcterms:created xsi:type="dcterms:W3CDTF">2023-06-22T21:15:48Z</dcterms:created>
  <dcterms:modified xsi:type="dcterms:W3CDTF">2024-10-25T08:59:21Z</dcterms:modified>
</cp:coreProperties>
</file>